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11"/>
  </p:notesMasterIdLst>
  <p:sldIdLst>
    <p:sldId id="513" r:id="rId2"/>
    <p:sldId id="518" r:id="rId3"/>
    <p:sldId id="528" r:id="rId4"/>
    <p:sldId id="527" r:id="rId5"/>
    <p:sldId id="517" r:id="rId6"/>
    <p:sldId id="523" r:id="rId7"/>
    <p:sldId id="524" r:id="rId8"/>
    <p:sldId id="520" r:id="rId9"/>
    <p:sldId id="529" r:id="rId10"/>
  </p:sldIdLst>
  <p:sldSz cx="9144000" cy="5143500" type="screen16x9"/>
  <p:notesSz cx="6797675" cy="9926638"/>
  <p:defaultTextStyle>
    <a:defPPr lvl="0">
      <a:defRPr lang="en-US"/>
    </a:defPPr>
    <a:lvl1pPr marL="0" lvl="0" algn="l" defTabSz="29150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91506" lvl="1" algn="l" defTabSz="29150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583013" lvl="2" algn="l" defTabSz="29150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874518" lvl="3" algn="l" defTabSz="29150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166024" lvl="4" algn="l" defTabSz="29150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1457530" lvl="5" algn="l" defTabSz="29150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1749037" lvl="6" algn="l" defTabSz="29150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2040542" lvl="7" algn="l" defTabSz="29150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2332050" lvl="8" algn="l" defTabSz="29150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B3829C85-FD90-41CA-9984-384A166B8E2D}">
          <p14:sldIdLst>
            <p14:sldId id="513"/>
            <p14:sldId id="518"/>
            <p14:sldId id="528"/>
            <p14:sldId id="527"/>
            <p14:sldId id="517"/>
            <p14:sldId id="523"/>
            <p14:sldId id="524"/>
            <p14:sldId id="520"/>
            <p14:sldId id="52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024">
          <p15:clr>
            <a:srgbClr val="000000"/>
          </p15:clr>
        </p15:guide>
        <p15:guide id="2" pos="4032">
          <p15:clr>
            <a:srgbClr val="000000"/>
          </p15:clr>
        </p15:guide>
        <p15:guide id="3" orient="horz" pos="1620">
          <p15:clr>
            <a:srgbClr val="A4A3A4"/>
          </p15:clr>
        </p15:guide>
        <p15:guide id="4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Евгений Казаченко" initials="ЕК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BB0"/>
    <a:srgbClr val="6DD6E7"/>
    <a:srgbClr val="01209D"/>
    <a:srgbClr val="000000"/>
    <a:srgbClr val="CCCCCC"/>
    <a:srgbClr val="75E7A4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47" autoAdjust="0"/>
    <p:restoredTop sz="94713" autoAdjust="0"/>
  </p:normalViewPr>
  <p:slideViewPr>
    <p:cSldViewPr snapToGrid="0">
      <p:cViewPr varScale="1">
        <p:scale>
          <a:sx n="147" d="100"/>
          <a:sy n="147" d="100"/>
        </p:scale>
        <p:origin x="600" y="120"/>
      </p:cViewPr>
      <p:guideLst>
        <p:guide orient="horz" pos="3024"/>
        <p:guide pos="4032"/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46" d="100"/>
        <a:sy n="14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" y="9"/>
            <a:ext cx="2945660" cy="498055"/>
          </a:xfrm>
          <a:prstGeom prst="rect">
            <a:avLst/>
          </a:prstGeom>
        </p:spPr>
        <p:txBody>
          <a:bodyPr vert="horz" lIns="91332" tIns="45665" rIns="91332" bIns="45665" rtlCol="0"/>
          <a:lstStyle>
            <a:lvl1pPr algn="l">
              <a:defRPr sz="11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50" y="9"/>
            <a:ext cx="2945660" cy="498055"/>
          </a:xfrm>
          <a:prstGeom prst="rect">
            <a:avLst/>
          </a:prstGeom>
        </p:spPr>
        <p:txBody>
          <a:bodyPr vert="horz" lIns="91332" tIns="45665" rIns="91332" bIns="45665" rtlCol="0"/>
          <a:lstStyle>
            <a:lvl1pPr algn="r">
              <a:defRPr sz="1100"/>
            </a:lvl1pPr>
          </a:lstStyle>
          <a:p>
            <a:fld id="{CFB7FEED-C190-4810-913F-7438EE41104D}" type="datetimeFigureOut">
              <a:rPr lang="en-GB" smtClean="0"/>
              <a:pPr/>
              <a:t>05/07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53125" cy="3348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32" tIns="45665" rIns="91332" bIns="45665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9" y="4777203"/>
            <a:ext cx="5438139" cy="3908614"/>
          </a:xfrm>
          <a:prstGeom prst="rect">
            <a:avLst/>
          </a:prstGeom>
        </p:spPr>
        <p:txBody>
          <a:bodyPr vert="horz" lIns="91332" tIns="45665" rIns="91332" bIns="4566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7" y="9428586"/>
            <a:ext cx="2945660" cy="498055"/>
          </a:xfrm>
          <a:prstGeom prst="rect">
            <a:avLst/>
          </a:prstGeom>
        </p:spPr>
        <p:txBody>
          <a:bodyPr vert="horz" lIns="91332" tIns="45665" rIns="91332" bIns="45665" rtlCol="0" anchor="b"/>
          <a:lstStyle>
            <a:lvl1pPr algn="l">
              <a:defRPr sz="11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50" y="9428586"/>
            <a:ext cx="2945660" cy="498055"/>
          </a:xfrm>
          <a:prstGeom prst="rect">
            <a:avLst/>
          </a:prstGeom>
        </p:spPr>
        <p:txBody>
          <a:bodyPr vert="horz" lIns="91332" tIns="45665" rIns="91332" bIns="45665" rtlCol="0" anchor="b"/>
          <a:lstStyle>
            <a:lvl1pPr algn="r">
              <a:defRPr sz="1100"/>
            </a:lvl1pPr>
          </a:lstStyle>
          <a:p>
            <a:fld id="{CAFDC95A-E73C-4092-8ABF-AE007264C1A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16984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1621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408109" algn="l" defTabSz="81621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816216" algn="l" defTabSz="81621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224325" algn="l" defTabSz="81621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632434" algn="l" defTabSz="81621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040542" algn="l" defTabSz="81621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448651" algn="l" defTabSz="81621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2856759" algn="l" defTabSz="81621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264868" algn="l" defTabSz="81621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FDC95A-E73C-4092-8ABF-AE007264C1A2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67447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10" Type="http://schemas.openxmlformats.org/officeDocument/2006/relationships/image" Target="../media/image1.emf"/><Relationship Id="rId4" Type="http://schemas.openxmlformats.org/officeDocument/2006/relationships/tags" Target="../tags/tag27.xml"/><Relationship Id="rId9" Type="http://schemas.openxmlformats.org/officeDocument/2006/relationships/oleObject" Target="../embeddings/oleObject1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0.xml"/><Relationship Id="rId7" Type="http://schemas.openxmlformats.org/officeDocument/2006/relationships/oleObject" Target="../embeddings/oleObject18.bin"/><Relationship Id="rId2" Type="http://schemas.openxmlformats.org/officeDocument/2006/relationships/tags" Target="../tags/tag39.xml"/><Relationship Id="rId1" Type="http://schemas.openxmlformats.org/officeDocument/2006/relationships/vmlDrawing" Target="../drawings/vmlDrawing1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9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7936"/>
          <a:stretch/>
        </p:blipFill>
        <p:spPr>
          <a:xfrm>
            <a:off x="223736" y="1126714"/>
            <a:ext cx="8792308" cy="3107069"/>
          </a:xfrm>
          <a:prstGeom prst="rect">
            <a:avLst/>
          </a:prstGeom>
        </p:spPr>
      </p:pic>
      <p:sp>
        <p:nvSpPr>
          <p:cNvPr id="14" name="Прямоугольник 13"/>
          <p:cNvSpPr/>
          <p:nvPr userDrawn="1"/>
        </p:nvSpPr>
        <p:spPr>
          <a:xfrm>
            <a:off x="308151" y="1126716"/>
            <a:ext cx="6026257" cy="2116414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301" tIns="29151" rIns="58301" bIns="29151" rtlCol="0" anchor="ctr"/>
          <a:lstStyle/>
          <a:p>
            <a:pPr algn="ctr"/>
            <a:endParaRPr lang="ru-RU" sz="1500" b="0" i="0" dirty="0"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8151" y="1126719"/>
            <a:ext cx="6026257" cy="1411699"/>
          </a:xfrm>
        </p:spPr>
        <p:txBody>
          <a:bodyPr bIns="149196" anchor="b">
            <a:normAutofit/>
          </a:bodyPr>
          <a:lstStyle>
            <a:lvl1pPr marL="366260" indent="0" algn="l">
              <a:defRPr sz="1500" b="1" spc="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1042" y="1369220"/>
            <a:ext cx="8543925" cy="3263503"/>
          </a:xfrm>
          <a:prstGeom prst="rect">
            <a:avLst/>
          </a:prstGeom>
        </p:spPr>
        <p:txBody>
          <a:bodyPr vert="horz" lIns="58301" tIns="29151" rIns="58301" bIns="29151" rtlCol="0">
            <a:normAutofit/>
          </a:bodyPr>
          <a:lstStyle>
            <a:lvl1pPr marL="204054" indent="-204054" algn="l" defTabSz="816216" rtl="0" eaLnBrk="1" latinLnBrk="0" hangingPunct="1">
              <a:lnSpc>
                <a:spcPct val="90000"/>
              </a:lnSpc>
              <a:spcBef>
                <a:spcPts val="893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612163" indent="-204054" algn="l" defTabSz="816216" rtl="0" eaLnBrk="1" latinLnBrk="0" hangingPunct="1">
              <a:lnSpc>
                <a:spcPct val="90000"/>
              </a:lnSpc>
              <a:spcBef>
                <a:spcPts val="446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020272" indent="-204054" algn="l" defTabSz="816216" rtl="0" eaLnBrk="1" latinLnBrk="0" hangingPunct="1">
              <a:lnSpc>
                <a:spcPct val="90000"/>
              </a:lnSpc>
              <a:spcBef>
                <a:spcPts val="446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1428380" indent="-204054" algn="l" defTabSz="816216" rtl="0" eaLnBrk="1" latinLnBrk="0" hangingPunct="1">
              <a:lnSpc>
                <a:spcPct val="90000"/>
              </a:lnSpc>
              <a:spcBef>
                <a:spcPts val="446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1836488" indent="-204054" algn="l" defTabSz="816216" rtl="0" eaLnBrk="1" latinLnBrk="0" hangingPunct="1">
              <a:lnSpc>
                <a:spcPct val="90000"/>
              </a:lnSpc>
              <a:spcBef>
                <a:spcPts val="446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2244597" indent="-204054" algn="l" defTabSz="816216" rtl="0" eaLnBrk="1" latinLnBrk="0" hangingPunct="1">
              <a:lnSpc>
                <a:spcPct val="90000"/>
              </a:lnSpc>
              <a:spcBef>
                <a:spcPts val="446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2706" indent="-204054" algn="l" defTabSz="816216" rtl="0" eaLnBrk="1" latinLnBrk="0" hangingPunct="1">
              <a:lnSpc>
                <a:spcPct val="90000"/>
              </a:lnSpc>
              <a:spcBef>
                <a:spcPts val="446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60815" indent="-204054" algn="l" defTabSz="816216" rtl="0" eaLnBrk="1" latinLnBrk="0" hangingPunct="1">
              <a:lnSpc>
                <a:spcPct val="90000"/>
              </a:lnSpc>
              <a:spcBef>
                <a:spcPts val="446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8922" indent="-204054" algn="l" defTabSz="816216" rtl="0" eaLnBrk="1" latinLnBrk="0" hangingPunct="1">
              <a:lnSpc>
                <a:spcPct val="90000"/>
              </a:lnSpc>
              <a:spcBef>
                <a:spcPts val="446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38" y="4767266"/>
            <a:ext cx="2228850" cy="273844"/>
          </a:xfrm>
          <a:prstGeom prst="rect">
            <a:avLst/>
          </a:prstGeom>
        </p:spPr>
        <p:txBody>
          <a:bodyPr vert="horz" lIns="58301" tIns="29151" rIns="58301" bIns="29151" rtlCol="0" anchor="ctr"/>
          <a:lstStyle>
            <a:defPPr lvl="0">
              <a:defRPr lang="en-US"/>
            </a:defPPr>
            <a:lvl1pPr marL="0" lvl="0" algn="l" defTabSz="408109" rtl="0" eaLnBrk="1" latinLnBrk="0" hangingPunct="1">
              <a:defRPr sz="11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408109" lvl="1" algn="l" defTabSz="40810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216" lvl="2" algn="l" defTabSz="40810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325" lvl="3" algn="l" defTabSz="40810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434" lvl="4" algn="l" defTabSz="40810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542" lvl="5" algn="l" defTabSz="40810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8651" lvl="6" algn="l" defTabSz="40810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6759" lvl="7" algn="l" defTabSz="40810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4868" lvl="8" algn="l" defTabSz="40810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67" y="4767266"/>
            <a:ext cx="3343275" cy="273844"/>
          </a:xfrm>
          <a:prstGeom prst="rect">
            <a:avLst/>
          </a:prstGeom>
        </p:spPr>
        <p:txBody>
          <a:bodyPr vert="horz" lIns="58301" tIns="29151" rIns="58301" bIns="29151" rtlCol="0" anchor="ctr"/>
          <a:lstStyle>
            <a:defPPr lvl="0">
              <a:defRPr lang="en-US"/>
            </a:defPPr>
            <a:lvl1pPr marL="0" lvl="0" algn="ctr" defTabSz="408109" rtl="0" eaLnBrk="1" latinLnBrk="0" hangingPunct="1">
              <a:defRPr sz="11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408109" lvl="1" algn="l" defTabSz="40810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216" lvl="2" algn="l" defTabSz="40810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325" lvl="3" algn="l" defTabSz="40810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434" lvl="4" algn="l" defTabSz="40810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542" lvl="5" algn="l" defTabSz="40810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8651" lvl="6" algn="l" defTabSz="40810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6759" lvl="7" algn="l" defTabSz="40810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4868" lvl="8" algn="l" defTabSz="40810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35450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F28EEC7D-D475-4436-A848-458D9259D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1146466"/>
              </p:ext>
            </p:extLst>
          </p:nvPr>
        </p:nvGraphicFramePr>
        <p:xfrm>
          <a:off x="1134" y="853"/>
          <a:ext cx="1134" cy="8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7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853"/>
                        <a:ext cx="1134" cy="8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26941386-0E4E-42FB-9572-A33F262B55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113393" cy="850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9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342900"/>
            <a:ext cx="2949178" cy="1200150"/>
          </a:xfrm>
        </p:spPr>
        <p:txBody>
          <a:bodyPr anchor="b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70"/>
            <a:ext cx="4629150" cy="3655219"/>
          </a:xfrm>
        </p:spPr>
        <p:txBody>
          <a:bodyPr anchor="t"/>
          <a:lstStyle>
            <a:lvl1pPr marL="0" indent="0">
              <a:buNone/>
              <a:defRPr sz="2900"/>
            </a:lvl1pPr>
            <a:lvl2pPr marL="408109" indent="0">
              <a:buNone/>
              <a:defRPr sz="2500"/>
            </a:lvl2pPr>
            <a:lvl3pPr marL="816216" indent="0">
              <a:buNone/>
              <a:defRPr sz="2100"/>
            </a:lvl3pPr>
            <a:lvl4pPr marL="1224325" indent="0">
              <a:buNone/>
              <a:defRPr sz="1800"/>
            </a:lvl4pPr>
            <a:lvl5pPr marL="1632434" indent="0">
              <a:buNone/>
              <a:defRPr sz="1800"/>
            </a:lvl5pPr>
            <a:lvl6pPr marL="2040542" indent="0">
              <a:buNone/>
              <a:defRPr sz="1800"/>
            </a:lvl6pPr>
            <a:lvl7pPr marL="2448651" indent="0">
              <a:buNone/>
              <a:defRPr sz="1800"/>
            </a:lvl7pPr>
            <a:lvl8pPr marL="2856759" indent="0">
              <a:buNone/>
              <a:defRPr sz="1800"/>
            </a:lvl8pPr>
            <a:lvl9pPr marL="3264868" indent="0">
              <a:buNone/>
              <a:defRPr sz="18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1543052"/>
            <a:ext cx="2949178" cy="2858691"/>
          </a:xfrm>
        </p:spPr>
        <p:txBody>
          <a:bodyPr/>
          <a:lstStyle>
            <a:lvl1pPr marL="0" indent="0">
              <a:buNone/>
              <a:defRPr sz="1400"/>
            </a:lvl1pPr>
            <a:lvl2pPr marL="408109" indent="0">
              <a:buNone/>
              <a:defRPr sz="1200"/>
            </a:lvl2pPr>
            <a:lvl3pPr marL="816216" indent="0">
              <a:buNone/>
              <a:defRPr sz="1100"/>
            </a:lvl3pPr>
            <a:lvl4pPr marL="1224325" indent="0">
              <a:buNone/>
              <a:defRPr sz="900"/>
            </a:lvl4pPr>
            <a:lvl5pPr marL="1632434" indent="0">
              <a:buNone/>
              <a:defRPr sz="900"/>
            </a:lvl5pPr>
            <a:lvl6pPr marL="2040542" indent="0">
              <a:buNone/>
              <a:defRPr sz="900"/>
            </a:lvl6pPr>
            <a:lvl7pPr marL="2448651" indent="0">
              <a:buNone/>
              <a:defRPr sz="900"/>
            </a:lvl7pPr>
            <a:lvl8pPr marL="2856759" indent="0">
              <a:buNone/>
              <a:defRPr sz="900"/>
            </a:lvl8pPr>
            <a:lvl9pPr marL="3264868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7/5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8969100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35E1A7AD-2527-475A-82C1-DED1ABE384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3043873"/>
              </p:ext>
            </p:extLst>
          </p:nvPr>
        </p:nvGraphicFramePr>
        <p:xfrm>
          <a:off x="1134" y="853"/>
          <a:ext cx="1134" cy="8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853"/>
                        <a:ext cx="1134" cy="8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C42423BC-D307-4C37-9D14-3ED8188815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113393" cy="850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9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7/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0173891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137438DA-B1E4-46FA-938E-06317D45C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0835499"/>
              </p:ext>
            </p:extLst>
          </p:nvPr>
        </p:nvGraphicFramePr>
        <p:xfrm>
          <a:off x="1134" y="853"/>
          <a:ext cx="1134" cy="8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2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853"/>
                        <a:ext cx="1134" cy="8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12D6017F-FCDB-4FCB-B147-4DE959DEBED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113393" cy="850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9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8" y="273844"/>
            <a:ext cx="1971675" cy="435887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3" y="273844"/>
            <a:ext cx="5800725" cy="435887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7/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5810088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5023156"/>
              </p:ext>
            </p:extLst>
          </p:nvPr>
        </p:nvGraphicFramePr>
        <p:xfrm>
          <a:off x="1588" y="1193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6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3"/>
                        <a:ext cx="1588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9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273845"/>
            <a:ext cx="7886700" cy="1080296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12484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6981636"/>
              </p:ext>
            </p:extLst>
          </p:nvPr>
        </p:nvGraphicFramePr>
        <p:xfrm>
          <a:off x="1588" y="1193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9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3"/>
                        <a:ext cx="1588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9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062" y="202850"/>
            <a:ext cx="8483878" cy="1080296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dirty="0"/>
              <a:t>Введи наименование отрасли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969561B3-FAB2-4007-AA76-CB3C394BF358}"/>
              </a:ext>
            </a:extLst>
          </p:cNvPr>
          <p:cNvSpPr/>
          <p:nvPr userDrawn="1"/>
        </p:nvSpPr>
        <p:spPr>
          <a:xfrm>
            <a:off x="330061" y="1007535"/>
            <a:ext cx="2088000" cy="3291576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301" tIns="29151" rIns="58301" bIns="29151" rtlCol="0" anchor="ctr"/>
          <a:lstStyle/>
          <a:p>
            <a:pPr algn="ctr"/>
            <a:endParaRPr lang="en-GB" sz="2200" dirty="0"/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7A4D07B5-566E-4515-A5A8-F79198E694C5}"/>
              </a:ext>
            </a:extLst>
          </p:cNvPr>
          <p:cNvSpPr/>
          <p:nvPr userDrawn="1"/>
        </p:nvSpPr>
        <p:spPr>
          <a:xfrm>
            <a:off x="2462019" y="1007535"/>
            <a:ext cx="2088000" cy="3291576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301" tIns="29151" rIns="58301" bIns="29151" rtlCol="0" anchor="ctr"/>
          <a:lstStyle/>
          <a:p>
            <a:pPr algn="ctr"/>
            <a:endParaRPr lang="en-GB" sz="2200" dirty="0"/>
          </a:p>
        </p:txBody>
      </p: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1BD7A9EE-EB0D-41F0-BCC1-E88FB072D8BE}"/>
              </a:ext>
            </a:extLst>
          </p:cNvPr>
          <p:cNvSpPr/>
          <p:nvPr userDrawn="1"/>
        </p:nvSpPr>
        <p:spPr>
          <a:xfrm>
            <a:off x="4593979" y="1007535"/>
            <a:ext cx="2088000" cy="3291576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301" tIns="29151" rIns="58301" bIns="29151" rtlCol="0" anchor="ctr"/>
          <a:lstStyle/>
          <a:p>
            <a:pPr algn="ctr"/>
            <a:endParaRPr lang="en-GB" sz="2200" dirty="0"/>
          </a:p>
        </p:txBody>
      </p:sp>
      <p:sp>
        <p:nvSpPr>
          <p:cNvPr id="14" name="Flowchart: Off-page Connector 13">
            <a:extLst>
              <a:ext uri="{FF2B5EF4-FFF2-40B4-BE49-F238E27FC236}">
                <a16:creationId xmlns="" xmlns:a16="http://schemas.microsoft.com/office/drawing/2014/main" id="{28D66816-F49F-420A-80B8-A5B5C3BEE0E3}"/>
              </a:ext>
            </a:extLst>
          </p:cNvPr>
          <p:cNvSpPr/>
          <p:nvPr userDrawn="1"/>
        </p:nvSpPr>
        <p:spPr>
          <a:xfrm>
            <a:off x="2462020" y="799762"/>
            <a:ext cx="2088000" cy="27573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301" tIns="29151" rIns="58301" bIns="29151" rtlCol="0" anchor="ctr"/>
          <a:lstStyle/>
          <a:p>
            <a:pPr marL="0" marR="0" lvl="0" indent="0" algn="ctr" defTabSz="8162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1" dirty="0"/>
              <a:t>Заделы региона</a:t>
            </a:r>
            <a:endParaRPr lang="en-GB" sz="1000" b="1" dirty="0"/>
          </a:p>
        </p:txBody>
      </p:sp>
      <p:sp>
        <p:nvSpPr>
          <p:cNvPr id="15" name="Flowchart: Off-page Connector 14">
            <a:extLst>
              <a:ext uri="{FF2B5EF4-FFF2-40B4-BE49-F238E27FC236}">
                <a16:creationId xmlns="" xmlns:a16="http://schemas.microsoft.com/office/drawing/2014/main" id="{E07FA0D0-FDD0-4377-9DB0-F3CBAE70D70D}"/>
              </a:ext>
            </a:extLst>
          </p:cNvPr>
          <p:cNvSpPr/>
          <p:nvPr userDrawn="1"/>
        </p:nvSpPr>
        <p:spPr>
          <a:xfrm>
            <a:off x="4593979" y="799670"/>
            <a:ext cx="2088000" cy="27573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301" tIns="29151" rIns="58301" bIns="29151" rtlCol="0" anchor="ctr"/>
          <a:lstStyle/>
          <a:p>
            <a:pPr marL="0" marR="0" lvl="0" indent="0" algn="ctr" defTabSz="8162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1" dirty="0"/>
              <a:t>Тренды отрасли</a:t>
            </a:r>
            <a:endParaRPr lang="en-GB" sz="1000" b="1" dirty="0"/>
          </a:p>
        </p:txBody>
      </p:sp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F07C60D1-80B4-41DB-AA21-2CE360D541FC}"/>
              </a:ext>
            </a:extLst>
          </p:cNvPr>
          <p:cNvSpPr txBox="1"/>
          <p:nvPr userDrawn="1"/>
        </p:nvSpPr>
        <p:spPr>
          <a:xfrm>
            <a:off x="330061" y="1111679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202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900" dirty="0">
                <a:solidFill>
                  <a:schemeClr val="bg1"/>
                </a:solidFill>
              </a:rPr>
              <a:t>1.1. Ключевые показатели: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8D9BDAA5-0D55-4965-BE80-611BCDD35943}"/>
              </a:ext>
            </a:extLst>
          </p:cNvPr>
          <p:cNvSpPr txBox="1"/>
          <p:nvPr userDrawn="1"/>
        </p:nvSpPr>
        <p:spPr>
          <a:xfrm>
            <a:off x="330061" y="2773661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202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900" dirty="0">
                <a:solidFill>
                  <a:schemeClr val="bg1"/>
                </a:solidFill>
              </a:rPr>
              <a:t>1.2. Связанные отрасли: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D730E44A-F6BB-417D-9524-7882D765A5A3}"/>
              </a:ext>
            </a:extLst>
          </p:cNvPr>
          <p:cNvSpPr txBox="1"/>
          <p:nvPr userDrawn="1"/>
        </p:nvSpPr>
        <p:spPr>
          <a:xfrm>
            <a:off x="2462019" y="1111678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202" tIns="0" rIns="0" bIns="0" rtlCol="0">
            <a:spAutoFit/>
          </a:bodyPr>
          <a:lstStyle/>
          <a:p>
            <a:r>
              <a:rPr lang="ru-RU" sz="900" b="1" dirty="0">
                <a:solidFill>
                  <a:schemeClr val="bg1"/>
                </a:solidFill>
              </a:rPr>
              <a:t>2.1. Топ</a:t>
            </a:r>
            <a:r>
              <a:rPr lang="en-US" sz="900" b="1" dirty="0">
                <a:solidFill>
                  <a:schemeClr val="bg1"/>
                </a:solidFill>
              </a:rPr>
              <a:t>-5 </a:t>
            </a:r>
            <a:r>
              <a:rPr lang="ru-RU" sz="900" b="1" dirty="0">
                <a:solidFill>
                  <a:schemeClr val="bg1"/>
                </a:solidFill>
              </a:rPr>
              <a:t>орг-ий </a:t>
            </a:r>
            <a:r>
              <a:rPr lang="en-GB" sz="900" b="1" dirty="0">
                <a:solidFill>
                  <a:schemeClr val="bg1"/>
                </a:solidFill>
              </a:rPr>
              <a:t>(&gt;50 </a:t>
            </a:r>
            <a:r>
              <a:rPr lang="ru-RU" sz="900" b="1" dirty="0">
                <a:solidFill>
                  <a:schemeClr val="bg1"/>
                </a:solidFill>
              </a:rPr>
              <a:t>млн р.):</a:t>
            </a:r>
            <a:endParaRPr lang="en-GB" sz="900" b="1" dirty="0">
              <a:solidFill>
                <a:schemeClr val="bg1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4129677F-9541-4B58-A994-7789B4A2D903}"/>
              </a:ext>
            </a:extLst>
          </p:cNvPr>
          <p:cNvSpPr txBox="1"/>
          <p:nvPr userDrawn="1"/>
        </p:nvSpPr>
        <p:spPr>
          <a:xfrm>
            <a:off x="2462019" y="2060610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202" tIns="0" rIns="0" bIns="0" rtlCol="0">
            <a:spAutoFit/>
          </a:bodyPr>
          <a:lstStyle/>
          <a:p>
            <a:r>
              <a:rPr lang="ru-RU" sz="900" b="1" dirty="0">
                <a:solidFill>
                  <a:schemeClr val="bg1"/>
                </a:solidFill>
              </a:rPr>
              <a:t>2.2 Ключевые продукты:</a:t>
            </a:r>
            <a:endParaRPr lang="en-GB" sz="900" b="1" dirty="0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F93A38C1-819E-442D-A981-F92095CDDB04}"/>
              </a:ext>
            </a:extLst>
          </p:cNvPr>
          <p:cNvSpPr/>
          <p:nvPr userDrawn="1"/>
        </p:nvSpPr>
        <p:spPr>
          <a:xfrm>
            <a:off x="6725938" y="1007535"/>
            <a:ext cx="2088000" cy="3291576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301" tIns="29151" rIns="58301" bIns="29151" rtlCol="0" anchor="ctr"/>
          <a:lstStyle/>
          <a:p>
            <a:pPr algn="ctr"/>
            <a:endParaRPr lang="en-GB" sz="2200" dirty="0"/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0B43D717-5750-4A50-B80D-EB8ED5949210}"/>
              </a:ext>
            </a:extLst>
          </p:cNvPr>
          <p:cNvSpPr txBox="1"/>
          <p:nvPr userDrawn="1"/>
        </p:nvSpPr>
        <p:spPr>
          <a:xfrm>
            <a:off x="2462019" y="2773660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202" tIns="0" rIns="0" bIns="0" rtlCol="0">
            <a:spAutoFit/>
          </a:bodyPr>
          <a:lstStyle/>
          <a:p>
            <a:r>
              <a:rPr lang="ru-RU" sz="900" b="1" dirty="0">
                <a:solidFill>
                  <a:schemeClr val="bg1"/>
                </a:solidFill>
              </a:rPr>
              <a:t>2.3. Ресурсы:</a:t>
            </a:r>
            <a:endParaRPr lang="en-GB" sz="900" b="1" dirty="0">
              <a:solidFill>
                <a:schemeClr val="bg1"/>
              </a:solidFill>
            </a:endParaRPr>
          </a:p>
        </p:txBody>
      </p:sp>
      <p:sp>
        <p:nvSpPr>
          <p:cNvPr id="16" name="Flowchart: Off-page Connector 15">
            <a:extLst>
              <a:ext uri="{FF2B5EF4-FFF2-40B4-BE49-F238E27FC236}">
                <a16:creationId xmlns="" xmlns:a16="http://schemas.microsoft.com/office/drawing/2014/main" id="{2CE9C76C-303A-4ECD-AB51-5A64A2D19385}"/>
              </a:ext>
            </a:extLst>
          </p:cNvPr>
          <p:cNvSpPr/>
          <p:nvPr userDrawn="1"/>
        </p:nvSpPr>
        <p:spPr>
          <a:xfrm>
            <a:off x="6725938" y="799670"/>
            <a:ext cx="2088000" cy="27573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0672" tIns="29151" rIns="0" bIns="29151" rtlCol="0" anchor="ctr"/>
          <a:lstStyle/>
          <a:p>
            <a:pPr marL="0" marR="0" lvl="0" indent="0" algn="ctr" defTabSz="8162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1" dirty="0"/>
              <a:t>Возможности локализации</a:t>
            </a:r>
            <a:endParaRPr lang="en-GB" sz="1000" b="1" dirty="0"/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C1F8E3F3-6914-4270-A0AD-5B44F5087B00}"/>
              </a:ext>
            </a:extLst>
          </p:cNvPr>
          <p:cNvSpPr txBox="1"/>
          <p:nvPr userDrawn="1"/>
        </p:nvSpPr>
        <p:spPr>
          <a:xfrm>
            <a:off x="4593979" y="1111678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202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900" dirty="0">
                <a:solidFill>
                  <a:schemeClr val="bg1"/>
                </a:solidFill>
              </a:rPr>
              <a:t>3.1. Мировые тренды: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8A82D6EF-2EED-4E6B-9790-BCCC79355A2C}"/>
              </a:ext>
            </a:extLst>
          </p:cNvPr>
          <p:cNvSpPr txBox="1"/>
          <p:nvPr userDrawn="1"/>
        </p:nvSpPr>
        <p:spPr>
          <a:xfrm>
            <a:off x="4610960" y="1267549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202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lvl="0"/>
            <a:r>
              <a:rPr lang="ru-RU" sz="900" dirty="0"/>
              <a:t>Новые продукты:</a:t>
            </a:r>
            <a:endParaRPr lang="en-GB" sz="900" dirty="0"/>
          </a:p>
        </p:txBody>
      </p: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40FD6F12-9AEB-4391-8B05-E135DF74E141}"/>
              </a:ext>
            </a:extLst>
          </p:cNvPr>
          <p:cNvSpPr txBox="1"/>
          <p:nvPr userDrawn="1"/>
        </p:nvSpPr>
        <p:spPr>
          <a:xfrm>
            <a:off x="4593979" y="2773661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202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900" dirty="0">
                <a:solidFill>
                  <a:schemeClr val="bg1"/>
                </a:solidFill>
              </a:rPr>
              <a:t>3.2. Российские тренды: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6C0BB5A7-D2F0-4F40-9674-C0964C6B2F38}"/>
              </a:ext>
            </a:extLst>
          </p:cNvPr>
          <p:cNvSpPr txBox="1"/>
          <p:nvPr userDrawn="1"/>
        </p:nvSpPr>
        <p:spPr>
          <a:xfrm>
            <a:off x="340221" y="1267550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202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lvl="0"/>
            <a:r>
              <a:rPr lang="ru-RU" sz="900" dirty="0"/>
              <a:t>Производство</a:t>
            </a:r>
            <a:r>
              <a:rPr lang="en-US" sz="900" dirty="0"/>
              <a:t> (2017)</a:t>
            </a:r>
            <a:r>
              <a:rPr lang="ru-RU" sz="900" dirty="0"/>
              <a:t>, млрд руб.</a:t>
            </a:r>
            <a:endParaRPr lang="en-GB" sz="900" dirty="0"/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E9A42B93-B43E-4E6C-9BCB-19E1E4AC32F9}"/>
              </a:ext>
            </a:extLst>
          </p:cNvPr>
          <p:cNvSpPr txBox="1"/>
          <p:nvPr userDrawn="1"/>
        </p:nvSpPr>
        <p:spPr>
          <a:xfrm>
            <a:off x="340221" y="2060611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202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900" dirty="0"/>
              <a:t>Рабочие места</a:t>
            </a:r>
            <a:r>
              <a:rPr lang="en-US" sz="900" dirty="0"/>
              <a:t> (2017)</a:t>
            </a:r>
            <a:r>
              <a:rPr lang="ru-RU" sz="900" dirty="0"/>
              <a:t>, тыс. ед.</a:t>
            </a:r>
            <a:endParaRPr lang="en-GB" sz="900" dirty="0"/>
          </a:p>
        </p:txBody>
      </p:sp>
      <p:sp>
        <p:nvSpPr>
          <p:cNvPr id="40" name="TextBox 39">
            <a:extLst>
              <a:ext uri="{FF2B5EF4-FFF2-40B4-BE49-F238E27FC236}">
                <a16:creationId xmlns="" xmlns:a16="http://schemas.microsoft.com/office/drawing/2014/main" id="{91BFC6ED-6182-4E41-A5B6-EDDFF2D60AFD}"/>
              </a:ext>
            </a:extLst>
          </p:cNvPr>
          <p:cNvSpPr txBox="1"/>
          <p:nvPr userDrawn="1"/>
        </p:nvSpPr>
        <p:spPr>
          <a:xfrm>
            <a:off x="2479003" y="1267550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202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lvl="0"/>
            <a:r>
              <a:rPr lang="ru-RU" sz="900" dirty="0"/>
              <a:t>Выручка (2017), млрд руб.</a:t>
            </a:r>
            <a:endParaRPr lang="en-GB" sz="900" dirty="0"/>
          </a:p>
        </p:txBody>
      </p:sp>
      <p:sp>
        <p:nvSpPr>
          <p:cNvPr id="43" name="TextBox 42">
            <a:extLst>
              <a:ext uri="{FF2B5EF4-FFF2-40B4-BE49-F238E27FC236}">
                <a16:creationId xmlns="" xmlns:a16="http://schemas.microsoft.com/office/drawing/2014/main" id="{75D1950D-F894-4DB3-8841-B2BF9C42394E}"/>
              </a:ext>
            </a:extLst>
          </p:cNvPr>
          <p:cNvSpPr txBox="1"/>
          <p:nvPr userDrawn="1"/>
        </p:nvSpPr>
        <p:spPr>
          <a:xfrm>
            <a:off x="2479003" y="2940427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202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900" dirty="0"/>
              <a:t>Природные ресурсы:</a:t>
            </a:r>
            <a:endParaRPr lang="en-GB" sz="900" dirty="0"/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D4C613A2-75F8-406E-92EC-012D7FA1560C}"/>
              </a:ext>
            </a:extLst>
          </p:cNvPr>
          <p:cNvSpPr txBox="1"/>
          <p:nvPr userDrawn="1"/>
        </p:nvSpPr>
        <p:spPr>
          <a:xfrm>
            <a:off x="2479003" y="3606530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202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900" dirty="0"/>
              <a:t>Человеческий потенциал:</a:t>
            </a:r>
            <a:endParaRPr lang="en-GB" sz="900" dirty="0"/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71EE9890-4137-4E49-A9D1-85B3FFA0F215}"/>
              </a:ext>
            </a:extLst>
          </p:cNvPr>
          <p:cNvSpPr txBox="1"/>
          <p:nvPr userDrawn="1"/>
        </p:nvSpPr>
        <p:spPr>
          <a:xfrm>
            <a:off x="4610960" y="2055921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202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900" dirty="0"/>
              <a:t>Растущие рынки:</a:t>
            </a:r>
            <a:endParaRPr lang="en-GB" sz="900" dirty="0"/>
          </a:p>
        </p:txBody>
      </p:sp>
      <p:sp>
        <p:nvSpPr>
          <p:cNvPr id="46" name="TextBox 45">
            <a:extLst>
              <a:ext uri="{FF2B5EF4-FFF2-40B4-BE49-F238E27FC236}">
                <a16:creationId xmlns="" xmlns:a16="http://schemas.microsoft.com/office/drawing/2014/main" id="{CF330712-B427-4B6B-981D-7018632ED74E}"/>
              </a:ext>
            </a:extLst>
          </p:cNvPr>
          <p:cNvSpPr txBox="1"/>
          <p:nvPr userDrawn="1"/>
        </p:nvSpPr>
        <p:spPr>
          <a:xfrm>
            <a:off x="4610963" y="2940427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202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900" dirty="0"/>
              <a:t>Госполитика:</a:t>
            </a:r>
            <a:endParaRPr lang="en-GB" sz="900" dirty="0"/>
          </a:p>
        </p:txBody>
      </p:sp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30CF2BA5-FBF5-449A-86A7-041D489918C1}"/>
              </a:ext>
            </a:extLst>
          </p:cNvPr>
          <p:cNvSpPr txBox="1"/>
          <p:nvPr userDrawn="1"/>
        </p:nvSpPr>
        <p:spPr>
          <a:xfrm>
            <a:off x="4610963" y="3606530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202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900" dirty="0"/>
              <a:t>Импортозамещение:</a:t>
            </a:r>
            <a:endParaRPr lang="en-GB" sz="900" dirty="0"/>
          </a:p>
        </p:txBody>
      </p:sp>
      <p:sp>
        <p:nvSpPr>
          <p:cNvPr id="48" name="Text Placeholder 37">
            <a:extLst>
              <a:ext uri="{FF2B5EF4-FFF2-40B4-BE49-F238E27FC236}">
                <a16:creationId xmlns="" xmlns:a16="http://schemas.microsoft.com/office/drawing/2014/main" id="{337C48FB-960A-4EA6-98B7-BF454790CC63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462018" y="2220103"/>
            <a:ext cx="2056342" cy="516401"/>
          </a:xfrm>
          <a:prstGeom prst="rect">
            <a:avLst/>
          </a:prstGeom>
        </p:spPr>
        <p:txBody>
          <a:bodyPr lIns="34430" tIns="0" rIns="0" bIns="0"/>
          <a:lstStyle>
            <a:lvl1pPr>
              <a:lnSpc>
                <a:spcPct val="100000"/>
              </a:lnSpc>
              <a:defRPr lang="en-GB" sz="900" dirty="0"/>
            </a:lvl1pPr>
          </a:lstStyle>
          <a:p>
            <a:pPr marL="0" lvl="0" indent="157291">
              <a:spcBef>
                <a:spcPts val="0"/>
              </a:spcBef>
            </a:pPr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49" name="Text Placeholder 37">
            <a:extLst>
              <a:ext uri="{FF2B5EF4-FFF2-40B4-BE49-F238E27FC236}">
                <a16:creationId xmlns="" xmlns:a16="http://schemas.microsoft.com/office/drawing/2014/main" id="{F356BF25-DB40-4FD5-9B76-B6878E2BD60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2477850" y="3074657"/>
            <a:ext cx="2056342" cy="516401"/>
          </a:xfrm>
          <a:prstGeom prst="rect">
            <a:avLst/>
          </a:prstGeom>
        </p:spPr>
        <p:txBody>
          <a:bodyPr lIns="34430" tIns="0" rIns="0" bIns="0"/>
          <a:lstStyle>
            <a:lvl1pPr>
              <a:lnSpc>
                <a:spcPct val="100000"/>
              </a:lnSpc>
              <a:defRPr lang="en-GB" sz="900" dirty="0"/>
            </a:lvl1pPr>
          </a:lstStyle>
          <a:p>
            <a:pPr marL="0" lvl="0" indent="157291">
              <a:spcBef>
                <a:spcPts val="0"/>
              </a:spcBef>
            </a:pPr>
            <a:r>
              <a:rPr lang="ru-RU" dirty="0"/>
              <a:t>Введи ресурсы	</a:t>
            </a:r>
            <a:endParaRPr lang="en-GB" dirty="0"/>
          </a:p>
        </p:txBody>
      </p:sp>
      <p:sp>
        <p:nvSpPr>
          <p:cNvPr id="50" name="Text Placeholder 37">
            <a:extLst>
              <a:ext uri="{FF2B5EF4-FFF2-40B4-BE49-F238E27FC236}">
                <a16:creationId xmlns="" xmlns:a16="http://schemas.microsoft.com/office/drawing/2014/main" id="{E3096346-887A-4C5E-8691-99CA8DAB6D6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604138" y="3074657"/>
            <a:ext cx="2046185" cy="516401"/>
          </a:xfrm>
          <a:prstGeom prst="rect">
            <a:avLst/>
          </a:prstGeom>
        </p:spPr>
        <p:txBody>
          <a:bodyPr lIns="34430" tIns="0" rIns="0" bIns="0"/>
          <a:lstStyle>
            <a:lvl1pPr marL="0" indent="321669">
              <a:lnSpc>
                <a:spcPct val="100000"/>
              </a:lnSpc>
              <a:defRPr lang="en-GB" sz="900" dirty="0"/>
            </a:lvl1pPr>
          </a:lstStyle>
          <a:p>
            <a:pPr marL="0" lvl="0" indent="157291">
              <a:spcBef>
                <a:spcPts val="0"/>
              </a:spcBef>
            </a:pPr>
            <a:r>
              <a:rPr lang="ru-RU" dirty="0"/>
              <a:t>Введи информацию	</a:t>
            </a:r>
            <a:endParaRPr lang="en-GB" dirty="0"/>
          </a:p>
        </p:txBody>
      </p:sp>
      <p:sp>
        <p:nvSpPr>
          <p:cNvPr id="51" name="Text Placeholder 37">
            <a:extLst>
              <a:ext uri="{FF2B5EF4-FFF2-40B4-BE49-F238E27FC236}">
                <a16:creationId xmlns="" xmlns:a16="http://schemas.microsoft.com/office/drawing/2014/main" id="{7534DC53-34EB-430C-8959-3E43D84B78B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477846" y="3737420"/>
            <a:ext cx="2056342" cy="516401"/>
          </a:xfrm>
          <a:prstGeom prst="rect">
            <a:avLst/>
          </a:prstGeom>
        </p:spPr>
        <p:txBody>
          <a:bodyPr lIns="34430" tIns="0" rIns="0" bIns="0"/>
          <a:lstStyle>
            <a:lvl1pPr>
              <a:lnSpc>
                <a:spcPct val="100000"/>
              </a:lnSpc>
              <a:defRPr lang="en-GB" sz="900" dirty="0"/>
            </a:lvl1pPr>
          </a:lstStyle>
          <a:p>
            <a:pPr marL="0" lvl="0" indent="157291">
              <a:spcBef>
                <a:spcPts val="0"/>
              </a:spcBef>
            </a:pPr>
            <a:r>
              <a:rPr lang="ru-RU" dirty="0"/>
              <a:t>Введи потенциал	</a:t>
            </a:r>
            <a:endParaRPr lang="en-GB" dirty="0"/>
          </a:p>
        </p:txBody>
      </p:sp>
      <p:sp>
        <p:nvSpPr>
          <p:cNvPr id="52" name="Text Placeholder 37">
            <a:extLst>
              <a:ext uri="{FF2B5EF4-FFF2-40B4-BE49-F238E27FC236}">
                <a16:creationId xmlns="" xmlns:a16="http://schemas.microsoft.com/office/drawing/2014/main" id="{7711F6CE-2240-452C-9703-9A60C82C00C3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593976" y="3737420"/>
            <a:ext cx="2056342" cy="516401"/>
          </a:xfrm>
          <a:prstGeom prst="rect">
            <a:avLst/>
          </a:prstGeom>
        </p:spPr>
        <p:txBody>
          <a:bodyPr lIns="34430" tIns="0" rIns="0" bIns="0"/>
          <a:lstStyle>
            <a:lvl1pPr>
              <a:lnSpc>
                <a:spcPct val="100000"/>
              </a:lnSpc>
              <a:defRPr lang="en-GB" sz="900" dirty="0"/>
            </a:lvl1pPr>
          </a:lstStyle>
          <a:p>
            <a:pPr marL="0" lvl="0" indent="157291">
              <a:spcBef>
                <a:spcPts val="0"/>
              </a:spcBef>
            </a:pPr>
            <a:r>
              <a:rPr lang="ru-RU" dirty="0"/>
              <a:t>Введи информацию об импортозамещении	</a:t>
            </a:r>
            <a:endParaRPr lang="en-GB" dirty="0"/>
          </a:p>
        </p:txBody>
      </p:sp>
      <p:sp>
        <p:nvSpPr>
          <p:cNvPr id="53" name="Text Placeholder 37">
            <a:extLst>
              <a:ext uri="{FF2B5EF4-FFF2-40B4-BE49-F238E27FC236}">
                <a16:creationId xmlns="" xmlns:a16="http://schemas.microsoft.com/office/drawing/2014/main" id="{3BC71E62-3DAE-4B81-84FC-43023093EA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93980" y="1412569"/>
            <a:ext cx="2056342" cy="592000"/>
          </a:xfrm>
          <a:prstGeom prst="rect">
            <a:avLst/>
          </a:prstGeom>
        </p:spPr>
        <p:txBody>
          <a:bodyPr lIns="34430" tIns="0" rIns="0" bIns="0"/>
          <a:lstStyle>
            <a:lvl1pPr marL="0" indent="157291">
              <a:lnSpc>
                <a:spcPct val="100000"/>
              </a:lnSpc>
              <a:spcBef>
                <a:spcPts val="0"/>
              </a:spcBef>
              <a:defRPr sz="9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54" name="Text Placeholder 37">
            <a:extLst>
              <a:ext uri="{FF2B5EF4-FFF2-40B4-BE49-F238E27FC236}">
                <a16:creationId xmlns="" xmlns:a16="http://schemas.microsoft.com/office/drawing/2014/main" id="{CEF588BD-98EE-450E-B8AF-88A10B3CFF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93976" y="2220103"/>
            <a:ext cx="2056342" cy="516401"/>
          </a:xfrm>
          <a:prstGeom prst="rect">
            <a:avLst/>
          </a:prstGeom>
        </p:spPr>
        <p:txBody>
          <a:bodyPr lIns="34430" tIns="0" rIns="0" bIns="0"/>
          <a:lstStyle>
            <a:lvl1pPr>
              <a:lnSpc>
                <a:spcPct val="100000"/>
              </a:lnSpc>
              <a:defRPr lang="en-GB" sz="900" dirty="0"/>
            </a:lvl1pPr>
          </a:lstStyle>
          <a:p>
            <a:pPr marL="0" lvl="0" indent="157291">
              <a:spcBef>
                <a:spcPts val="0"/>
              </a:spcBef>
            </a:pPr>
            <a:r>
              <a:rPr lang="ru-RU" dirty="0"/>
              <a:t>Введи рынки 	</a:t>
            </a:r>
            <a:endParaRPr lang="en-GB" dirty="0"/>
          </a:p>
        </p:txBody>
      </p: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2E7FEB27-E06D-47F5-9333-9F056D8F0E48}"/>
              </a:ext>
            </a:extLst>
          </p:cNvPr>
          <p:cNvSpPr txBox="1"/>
          <p:nvPr userDrawn="1"/>
        </p:nvSpPr>
        <p:spPr>
          <a:xfrm>
            <a:off x="340221" y="2940427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202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900" dirty="0"/>
              <a:t>Отрасли-поставщики:</a:t>
            </a:r>
            <a:endParaRPr lang="en-GB" sz="900" dirty="0"/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13825005-436C-4545-B4D0-8BC4E59424E8}"/>
              </a:ext>
            </a:extLst>
          </p:cNvPr>
          <p:cNvSpPr txBox="1"/>
          <p:nvPr userDrawn="1"/>
        </p:nvSpPr>
        <p:spPr>
          <a:xfrm>
            <a:off x="340221" y="3606530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202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900" dirty="0"/>
              <a:t>Отрасли-потребители:</a:t>
            </a:r>
            <a:endParaRPr lang="en-GB" sz="900" dirty="0"/>
          </a:p>
        </p:txBody>
      </p:sp>
      <p:sp>
        <p:nvSpPr>
          <p:cNvPr id="57" name="Text Placeholder 37">
            <a:extLst>
              <a:ext uri="{FF2B5EF4-FFF2-40B4-BE49-F238E27FC236}">
                <a16:creationId xmlns="" xmlns:a16="http://schemas.microsoft.com/office/drawing/2014/main" id="{EA198243-FF22-48B4-90CC-E95AD045CD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0221" y="3074657"/>
            <a:ext cx="2056342" cy="516401"/>
          </a:xfrm>
          <a:prstGeom prst="rect">
            <a:avLst/>
          </a:prstGeom>
        </p:spPr>
        <p:txBody>
          <a:bodyPr lIns="34430" tIns="0" rIns="0" bIns="0"/>
          <a:lstStyle>
            <a:lvl1pPr>
              <a:lnSpc>
                <a:spcPct val="100000"/>
              </a:lnSpc>
              <a:defRPr lang="en-GB" sz="900" dirty="0"/>
            </a:lvl1pPr>
          </a:lstStyle>
          <a:p>
            <a:pPr marL="0" lvl="0" indent="157291">
              <a:spcBef>
                <a:spcPts val="0"/>
              </a:spcBef>
            </a:pPr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58" name="Text Placeholder 37">
            <a:extLst>
              <a:ext uri="{FF2B5EF4-FFF2-40B4-BE49-F238E27FC236}">
                <a16:creationId xmlns="" xmlns:a16="http://schemas.microsoft.com/office/drawing/2014/main" id="{170035F1-91FC-458E-B029-A750EE25E1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0221" y="3737420"/>
            <a:ext cx="2056342" cy="516401"/>
          </a:xfrm>
          <a:prstGeom prst="rect">
            <a:avLst/>
          </a:prstGeom>
        </p:spPr>
        <p:txBody>
          <a:bodyPr lIns="34430" tIns="0" rIns="0" bIns="0"/>
          <a:lstStyle>
            <a:lvl1pPr>
              <a:lnSpc>
                <a:spcPct val="100000"/>
              </a:lnSpc>
              <a:defRPr lang="en-GB" sz="900" dirty="0"/>
            </a:lvl1pPr>
          </a:lstStyle>
          <a:p>
            <a:pPr marL="0" lvl="0" indent="157291">
              <a:spcBef>
                <a:spcPts val="0"/>
              </a:spcBef>
            </a:pPr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1887BA7B-DADA-4596-BECC-AF78E98BF3BE}"/>
              </a:ext>
            </a:extLst>
          </p:cNvPr>
          <p:cNvSpPr txBox="1"/>
          <p:nvPr userDrawn="1"/>
        </p:nvSpPr>
        <p:spPr>
          <a:xfrm>
            <a:off x="6725938" y="1111677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202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900" dirty="0">
                <a:solidFill>
                  <a:schemeClr val="bg1"/>
                </a:solidFill>
              </a:rPr>
              <a:t>4.1. Поставщики: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="" xmlns:a16="http://schemas.microsoft.com/office/drawing/2014/main" id="{D5F63E86-66DE-4D60-B813-3603572FE3D1}"/>
              </a:ext>
            </a:extLst>
          </p:cNvPr>
          <p:cNvSpPr txBox="1"/>
          <p:nvPr userDrawn="1"/>
        </p:nvSpPr>
        <p:spPr>
          <a:xfrm>
            <a:off x="6725938" y="2055921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202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900" dirty="0">
                <a:solidFill>
                  <a:schemeClr val="bg1"/>
                </a:solidFill>
              </a:rPr>
              <a:t>4.2. Потребители: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="" xmlns:a16="http://schemas.microsoft.com/office/drawing/2014/main" id="{A662233C-22F4-4829-B590-005DCCDC3D73}"/>
              </a:ext>
            </a:extLst>
          </p:cNvPr>
          <p:cNvSpPr txBox="1"/>
          <p:nvPr userDrawn="1"/>
        </p:nvSpPr>
        <p:spPr>
          <a:xfrm>
            <a:off x="6725938" y="2767302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202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900" dirty="0">
                <a:solidFill>
                  <a:schemeClr val="bg1"/>
                </a:solidFill>
              </a:rPr>
              <a:t>4.3. Ремонт/монтаж оборуд-ия: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="" xmlns:a16="http://schemas.microsoft.com/office/drawing/2014/main" id="{F5AA4475-76ED-4B98-A801-B2D8B68A51C1}"/>
              </a:ext>
            </a:extLst>
          </p:cNvPr>
          <p:cNvSpPr txBox="1"/>
          <p:nvPr userDrawn="1"/>
        </p:nvSpPr>
        <p:spPr>
          <a:xfrm>
            <a:off x="6725938" y="3606530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202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900" dirty="0">
                <a:solidFill>
                  <a:schemeClr val="bg1"/>
                </a:solidFill>
              </a:rPr>
              <a:t>4.4. Новые продукты: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63" name="Text Placeholder 37">
            <a:extLst>
              <a:ext uri="{FF2B5EF4-FFF2-40B4-BE49-F238E27FC236}">
                <a16:creationId xmlns="" xmlns:a16="http://schemas.microsoft.com/office/drawing/2014/main" id="{75FF713F-4963-423C-A306-108E1D1F0B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25938" y="1267550"/>
            <a:ext cx="2056342" cy="737021"/>
          </a:xfrm>
          <a:prstGeom prst="rect">
            <a:avLst/>
          </a:prstGeom>
          <a:noFill/>
        </p:spPr>
        <p:txBody>
          <a:bodyPr lIns="34430" tIns="0" rIns="0" bIns="0"/>
          <a:lstStyle>
            <a:lvl1pPr marL="0" indent="157291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64" name="Text Placeholder 37">
            <a:extLst>
              <a:ext uri="{FF2B5EF4-FFF2-40B4-BE49-F238E27FC236}">
                <a16:creationId xmlns="" xmlns:a16="http://schemas.microsoft.com/office/drawing/2014/main" id="{3F2FADCB-0E55-4866-8AE7-60CD17BD56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25938" y="2220099"/>
            <a:ext cx="2056342" cy="531728"/>
          </a:xfrm>
          <a:prstGeom prst="rect">
            <a:avLst/>
          </a:prstGeom>
          <a:noFill/>
        </p:spPr>
        <p:txBody>
          <a:bodyPr lIns="34430" tIns="0" rIns="0" bIns="0"/>
          <a:lstStyle>
            <a:lvl1pPr marL="0" indent="157291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65" name="Text Placeholder 37">
            <a:extLst>
              <a:ext uri="{FF2B5EF4-FFF2-40B4-BE49-F238E27FC236}">
                <a16:creationId xmlns="" xmlns:a16="http://schemas.microsoft.com/office/drawing/2014/main" id="{E8E22083-FB85-4EEE-926E-E859B6B5BC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25938" y="2940427"/>
            <a:ext cx="2056342" cy="650631"/>
          </a:xfrm>
          <a:prstGeom prst="rect">
            <a:avLst/>
          </a:prstGeom>
          <a:noFill/>
        </p:spPr>
        <p:txBody>
          <a:bodyPr lIns="34430" tIns="0" rIns="0" bIns="0"/>
          <a:lstStyle>
            <a:lvl1pPr marL="0" indent="157291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Введи партнеров	</a:t>
            </a:r>
            <a:endParaRPr lang="en-GB" dirty="0"/>
          </a:p>
        </p:txBody>
      </p:sp>
      <p:sp>
        <p:nvSpPr>
          <p:cNvPr id="66" name="Text Placeholder 37">
            <a:extLst>
              <a:ext uri="{FF2B5EF4-FFF2-40B4-BE49-F238E27FC236}">
                <a16:creationId xmlns="" xmlns:a16="http://schemas.microsoft.com/office/drawing/2014/main" id="{4DD48411-1C6F-4008-919C-1FD4D4E6BA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725938" y="3737420"/>
            <a:ext cx="2056342" cy="516401"/>
          </a:xfrm>
          <a:prstGeom prst="rect">
            <a:avLst/>
          </a:prstGeom>
          <a:noFill/>
        </p:spPr>
        <p:txBody>
          <a:bodyPr lIns="34430" tIns="0" rIns="0" bIns="0"/>
          <a:lstStyle>
            <a:lvl1pPr marL="0" indent="157291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67" name="Isosceles Triangle 66">
            <a:extLst>
              <a:ext uri="{FF2B5EF4-FFF2-40B4-BE49-F238E27FC236}">
                <a16:creationId xmlns="" xmlns:a16="http://schemas.microsoft.com/office/drawing/2014/main" id="{2F6412C7-FD96-4EFD-822B-771200689979}"/>
              </a:ext>
            </a:extLst>
          </p:cNvPr>
          <p:cNvSpPr/>
          <p:nvPr userDrawn="1"/>
        </p:nvSpPr>
        <p:spPr>
          <a:xfrm flipV="1">
            <a:off x="340221" y="4322458"/>
            <a:ext cx="2077840" cy="77722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301" tIns="29151" rIns="58301" bIns="29151" rtlCol="0" anchor="ctr"/>
          <a:lstStyle/>
          <a:p>
            <a:pPr algn="ctr"/>
            <a:endParaRPr lang="en-GB" sz="2200" dirty="0"/>
          </a:p>
        </p:txBody>
      </p:sp>
      <p:sp>
        <p:nvSpPr>
          <p:cNvPr id="68" name="Isosceles Triangle 67">
            <a:extLst>
              <a:ext uri="{FF2B5EF4-FFF2-40B4-BE49-F238E27FC236}">
                <a16:creationId xmlns="" xmlns:a16="http://schemas.microsoft.com/office/drawing/2014/main" id="{B5278AAB-3F83-4C84-9057-FA1E13AFC460}"/>
              </a:ext>
            </a:extLst>
          </p:cNvPr>
          <p:cNvSpPr/>
          <p:nvPr userDrawn="1"/>
        </p:nvSpPr>
        <p:spPr>
          <a:xfrm flipV="1">
            <a:off x="2472180" y="4322458"/>
            <a:ext cx="2077840" cy="77722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301" tIns="29151" rIns="58301" bIns="29151" rtlCol="0" anchor="ctr"/>
          <a:lstStyle/>
          <a:p>
            <a:pPr algn="ctr"/>
            <a:endParaRPr lang="en-GB" sz="2200" dirty="0"/>
          </a:p>
        </p:txBody>
      </p:sp>
      <p:sp>
        <p:nvSpPr>
          <p:cNvPr id="69" name="Isosceles Triangle 68">
            <a:extLst>
              <a:ext uri="{FF2B5EF4-FFF2-40B4-BE49-F238E27FC236}">
                <a16:creationId xmlns="" xmlns:a16="http://schemas.microsoft.com/office/drawing/2014/main" id="{A8F6E8FC-73F1-4F6A-B56B-78899C24163F}"/>
              </a:ext>
            </a:extLst>
          </p:cNvPr>
          <p:cNvSpPr/>
          <p:nvPr userDrawn="1"/>
        </p:nvSpPr>
        <p:spPr>
          <a:xfrm flipV="1">
            <a:off x="4604139" y="4322458"/>
            <a:ext cx="2077840" cy="77722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301" tIns="29151" rIns="58301" bIns="29151" rtlCol="0" anchor="ctr"/>
          <a:lstStyle/>
          <a:p>
            <a:pPr algn="ctr"/>
            <a:endParaRPr lang="en-GB" sz="2200" dirty="0"/>
          </a:p>
        </p:txBody>
      </p:sp>
      <p:sp>
        <p:nvSpPr>
          <p:cNvPr id="70" name="Isosceles Triangle 69">
            <a:extLst>
              <a:ext uri="{FF2B5EF4-FFF2-40B4-BE49-F238E27FC236}">
                <a16:creationId xmlns="" xmlns:a16="http://schemas.microsoft.com/office/drawing/2014/main" id="{FE4994C9-346B-42EC-B400-578C5F625FA2}"/>
              </a:ext>
            </a:extLst>
          </p:cNvPr>
          <p:cNvSpPr/>
          <p:nvPr userDrawn="1"/>
        </p:nvSpPr>
        <p:spPr>
          <a:xfrm flipV="1">
            <a:off x="6736098" y="4322458"/>
            <a:ext cx="2077840" cy="77722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301" tIns="29151" rIns="58301" bIns="29151" rtlCol="0" anchor="ctr"/>
          <a:lstStyle/>
          <a:p>
            <a:pPr algn="ctr"/>
            <a:endParaRPr lang="en-GB" sz="2200" dirty="0"/>
          </a:p>
        </p:txBody>
      </p:sp>
      <p:sp>
        <p:nvSpPr>
          <p:cNvPr id="71" name="Text Placeholder 37">
            <a:extLst>
              <a:ext uri="{FF2B5EF4-FFF2-40B4-BE49-F238E27FC236}">
                <a16:creationId xmlns="" xmlns:a16="http://schemas.microsoft.com/office/drawing/2014/main" id="{6C3DB72E-3F2A-4E6B-9421-87F19CD5DA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4395" y="4432325"/>
            <a:ext cx="2087999" cy="516401"/>
          </a:xfrm>
          <a:prstGeom prst="rect">
            <a:avLst/>
          </a:prstGeom>
          <a:solidFill>
            <a:schemeClr val="accent6"/>
          </a:solidFill>
        </p:spPr>
        <p:txBody>
          <a:bodyPr lIns="34430" tIns="0" rIns="0" bIns="0"/>
          <a:lstStyle>
            <a:lvl1pPr marL="0" indent="157291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Введи выводы по отрасли	</a:t>
            </a:r>
            <a:endParaRPr lang="en-GB" dirty="0"/>
          </a:p>
        </p:txBody>
      </p:sp>
      <p:sp>
        <p:nvSpPr>
          <p:cNvPr id="72" name="Text Placeholder 37">
            <a:extLst>
              <a:ext uri="{FF2B5EF4-FFF2-40B4-BE49-F238E27FC236}">
                <a16:creationId xmlns="" xmlns:a16="http://schemas.microsoft.com/office/drawing/2014/main" id="{D6356FED-5065-4621-9A4E-58AB7B6349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458244" y="4432325"/>
            <a:ext cx="2087999" cy="516401"/>
          </a:xfrm>
          <a:prstGeom prst="rect">
            <a:avLst/>
          </a:prstGeom>
          <a:solidFill>
            <a:schemeClr val="accent6"/>
          </a:solidFill>
        </p:spPr>
        <p:txBody>
          <a:bodyPr lIns="34430" tIns="0" rIns="0" bIns="0"/>
          <a:lstStyle>
            <a:lvl1pPr marL="0" indent="157291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Введи выводы по заделам	</a:t>
            </a:r>
            <a:endParaRPr lang="en-GB" dirty="0"/>
          </a:p>
        </p:txBody>
      </p:sp>
      <p:sp>
        <p:nvSpPr>
          <p:cNvPr id="73" name="Text Placeholder 37">
            <a:extLst>
              <a:ext uri="{FF2B5EF4-FFF2-40B4-BE49-F238E27FC236}">
                <a16:creationId xmlns="" xmlns:a16="http://schemas.microsoft.com/office/drawing/2014/main" id="{6233C855-3984-4309-8655-8BACF43F353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92093" y="4432325"/>
            <a:ext cx="2087999" cy="516401"/>
          </a:xfrm>
          <a:prstGeom prst="rect">
            <a:avLst/>
          </a:prstGeom>
          <a:solidFill>
            <a:schemeClr val="accent6"/>
          </a:solidFill>
        </p:spPr>
        <p:txBody>
          <a:bodyPr lIns="34430" tIns="0" rIns="0" bIns="0"/>
          <a:lstStyle>
            <a:lvl1pPr marL="0" indent="157291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Введи выводы по трендам	</a:t>
            </a:r>
            <a:endParaRPr lang="en-GB" dirty="0"/>
          </a:p>
        </p:txBody>
      </p:sp>
      <p:sp>
        <p:nvSpPr>
          <p:cNvPr id="74" name="Text Placeholder 37">
            <a:extLst>
              <a:ext uri="{FF2B5EF4-FFF2-40B4-BE49-F238E27FC236}">
                <a16:creationId xmlns="" xmlns:a16="http://schemas.microsoft.com/office/drawing/2014/main" id="{C76607BE-E271-4988-BAB3-351623D6DF4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25942" y="4432325"/>
            <a:ext cx="2087999" cy="516401"/>
          </a:xfrm>
          <a:prstGeom prst="rect">
            <a:avLst/>
          </a:prstGeom>
          <a:solidFill>
            <a:schemeClr val="accent6"/>
          </a:solidFill>
        </p:spPr>
        <p:txBody>
          <a:bodyPr lIns="34430" tIns="0" rIns="0" bIns="0"/>
          <a:lstStyle>
            <a:lvl1pPr marL="0" marR="0" indent="157291" algn="l" defTabSz="8162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90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marR="0" lvl="0" indent="157291" algn="l" defTabSz="8162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Введи выводы по локализации	</a:t>
            </a:r>
            <a:endParaRPr lang="en-GB" dirty="0"/>
          </a:p>
        </p:txBody>
      </p:sp>
      <p:sp>
        <p:nvSpPr>
          <p:cNvPr id="13" name="Flowchart: Off-page Connector 12">
            <a:extLst>
              <a:ext uri="{FF2B5EF4-FFF2-40B4-BE49-F238E27FC236}">
                <a16:creationId xmlns="" xmlns:a16="http://schemas.microsoft.com/office/drawing/2014/main" id="{0ADF419E-11AE-42C5-9126-38E2537E8FE1}"/>
              </a:ext>
            </a:extLst>
          </p:cNvPr>
          <p:cNvSpPr/>
          <p:nvPr userDrawn="1"/>
        </p:nvSpPr>
        <p:spPr>
          <a:xfrm>
            <a:off x="330061" y="799670"/>
            <a:ext cx="2088000" cy="27573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301" tIns="29151" rIns="58301" bIns="29151" rtlCol="0" anchor="ctr"/>
          <a:lstStyle/>
          <a:p>
            <a:pPr marL="0" marR="0" lvl="0" indent="0" algn="ctr" defTabSz="8162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1" dirty="0"/>
              <a:t>Описание отрасли</a:t>
            </a:r>
            <a:endParaRPr lang="en-GB" sz="1000" b="1" dirty="0"/>
          </a:p>
        </p:txBody>
      </p:sp>
      <p:sp>
        <p:nvSpPr>
          <p:cNvPr id="17" name="Oval 16">
            <a:extLst>
              <a:ext uri="{FF2B5EF4-FFF2-40B4-BE49-F238E27FC236}">
                <a16:creationId xmlns="" xmlns:a16="http://schemas.microsoft.com/office/drawing/2014/main" id="{61A9806B-4F68-43EC-B251-1C7445F8B15B}"/>
              </a:ext>
            </a:extLst>
          </p:cNvPr>
          <p:cNvSpPr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2431540" y="731942"/>
            <a:ext cx="180000" cy="135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ru-RU" sz="1000" b="1" dirty="0">
                <a:solidFill>
                  <a:schemeClr val="bg1"/>
                </a:solidFill>
              </a:rPr>
              <a:t>2</a:t>
            </a:r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="" xmlns:a16="http://schemas.microsoft.com/office/drawing/2014/main" id="{269DB621-51FB-4C94-8620-FA6E5387E6AE}"/>
              </a:ext>
            </a:extLst>
          </p:cNvPr>
          <p:cNvSpPr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4563499" y="731942"/>
            <a:ext cx="180000" cy="135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ru-RU" sz="1000" b="1" dirty="0">
                <a:solidFill>
                  <a:schemeClr val="bg1"/>
                </a:solidFill>
              </a:rPr>
              <a:t>3</a:t>
            </a:r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="" xmlns:a16="http://schemas.microsoft.com/office/drawing/2014/main" id="{C17643AE-755A-456A-929C-E6E07BD62233}"/>
              </a:ext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299581" y="731942"/>
            <a:ext cx="180000" cy="135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ru-RU" sz="1000" b="1" dirty="0">
                <a:solidFill>
                  <a:schemeClr val="bg1"/>
                </a:solidFill>
              </a:rPr>
              <a:t>1</a:t>
            </a:r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="" xmlns:a16="http://schemas.microsoft.com/office/drawing/2014/main" id="{4FA01474-7F85-49BF-832B-E8AB03B76681}"/>
              </a:ext>
            </a:extLst>
          </p:cNvPr>
          <p:cNvSpPr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6695458" y="731942"/>
            <a:ext cx="180000" cy="135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ru-RU" sz="1000" b="1" dirty="0">
                <a:solidFill>
                  <a:schemeClr val="bg1"/>
                </a:solidFill>
              </a:rPr>
              <a:t>4</a:t>
            </a:r>
            <a:endParaRPr lang="en-GB" sz="1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2396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732E3AD5-F316-4DEB-BEC3-46FB12184E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763432"/>
              </p:ext>
            </p:extLst>
          </p:nvPr>
        </p:nvGraphicFramePr>
        <p:xfrm>
          <a:off x="1134" y="853"/>
          <a:ext cx="1134" cy="8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1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853"/>
                        <a:ext cx="1134" cy="8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CFC0395F-A924-434B-B87A-946106400D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113393" cy="850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9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C5DDF6C6-7531-46E9-9600-6F57B29E2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27839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193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4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3"/>
                        <a:ext cx="1588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313869"/>
            <a:ext cx="7886700" cy="1080296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77030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193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6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3"/>
                        <a:ext cx="1588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313869"/>
            <a:ext cx="7886700" cy="1080296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8863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193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8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3"/>
                        <a:ext cx="1588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313869"/>
            <a:ext cx="7886700" cy="1080296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06241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0">
            <a:extLst>
              <a:ext uri="{FF2B5EF4-FFF2-40B4-BE49-F238E27FC236}">
                <a16:creationId xmlns="" xmlns:a16="http://schemas.microsoft.com/office/drawing/2014/main" id="{CFF2E660-F9F5-4898-B8D9-A54E49206A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6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5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" hidden="1">
            <a:extLst>
              <a:ext uri="{FF2B5EF4-FFF2-40B4-BE49-F238E27FC236}">
                <a16:creationId xmlns="" xmlns:a16="http://schemas.microsoft.com/office/drawing/2014/main" id="{C80A71C0-9EC2-4086-9D3D-CCF8A43614F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lnSpc>
                <a:spcPct val="90000"/>
              </a:lnSpc>
              <a:defRPr/>
            </a:pPr>
            <a:endParaRPr lang="en-US" sz="1800" b="1" dirty="0"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" name="Object 61">
            <a:extLst>
              <a:ext uri="{FF2B5EF4-FFF2-40B4-BE49-F238E27FC236}">
                <a16:creationId xmlns="" xmlns:a16="http://schemas.microsoft.com/office/drawing/2014/main" id="{4B55F087-F3B2-4D93-8EBE-0274D945345A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5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>
                <a16:creationId xmlns="" xmlns:a16="http://schemas.microsoft.com/office/drawing/2014/main" id="{FD1B9208-52FE-4408-9225-598116DEE86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2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lnSpc>
                <a:spcPct val="90000"/>
              </a:lnSpc>
              <a:defRPr/>
            </a:pPr>
            <a:endParaRPr lang="en-US" sz="1800" b="1" dirty="0"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9A6F2133-0525-4F1B-8E6A-1FC49A9438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D3085C-6FB1-4502-B296-0A7CA1533296}" type="slidenum">
              <a:rPr lang="en-GB" altLang="en-US"/>
              <a:pPr/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3024581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E7EFF642-20F4-43F9-9B6B-68ED660D2E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6319698"/>
              </p:ext>
            </p:extLst>
          </p:nvPr>
        </p:nvGraphicFramePr>
        <p:xfrm>
          <a:off x="1134" y="853"/>
          <a:ext cx="1134" cy="8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853"/>
                        <a:ext cx="1134" cy="8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8605F190-EA9C-4D04-BEEE-450A2275F7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113393" cy="850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841772"/>
            <a:ext cx="7772400" cy="1790700"/>
          </a:xfrm>
        </p:spPr>
        <p:txBody>
          <a:bodyPr anchor="b"/>
          <a:lstStyle>
            <a:lvl1pPr algn="ctr"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2100"/>
            </a:lvl1pPr>
            <a:lvl2pPr marL="408109" indent="0" algn="ctr">
              <a:buNone/>
              <a:defRPr sz="1800"/>
            </a:lvl2pPr>
            <a:lvl3pPr marL="816216" indent="0" algn="ctr">
              <a:buNone/>
              <a:defRPr sz="1600"/>
            </a:lvl3pPr>
            <a:lvl4pPr marL="1224325" indent="0" algn="ctr">
              <a:buNone/>
              <a:defRPr sz="1400"/>
            </a:lvl4pPr>
            <a:lvl5pPr marL="1632434" indent="0" algn="ctr">
              <a:buNone/>
              <a:defRPr sz="1400"/>
            </a:lvl5pPr>
            <a:lvl6pPr marL="2040542" indent="0" algn="ctr">
              <a:buNone/>
              <a:defRPr sz="1400"/>
            </a:lvl6pPr>
            <a:lvl7pPr marL="2448651" indent="0" algn="ctr">
              <a:buNone/>
              <a:defRPr sz="1400"/>
            </a:lvl7pPr>
            <a:lvl8pPr marL="2856759" indent="0" algn="ctr">
              <a:buNone/>
              <a:defRPr sz="1400"/>
            </a:lvl8pPr>
            <a:lvl9pPr marL="3264868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7/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4639384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193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3"/>
                        <a:ext cx="1588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313869"/>
            <a:ext cx="7886700" cy="1080296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79219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="" xmlns:a16="http://schemas.microsoft.com/office/drawing/2014/main" id="{F6EC3707-3324-4B05-9A8C-66E2826136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206506"/>
              </p:ext>
            </p:extLst>
          </p:nvPr>
        </p:nvGraphicFramePr>
        <p:xfrm>
          <a:off x="1194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6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4" y="1193"/>
                        <a:ext cx="1191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="" xmlns:a16="http://schemas.microsoft.com/office/drawing/2014/main" id="{42333579-474F-4A43-BDD0-4C6DE9D26B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1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F644405F-DE0C-4185-B568-DD1FB5DA5FC4}"/>
              </a:ext>
            </a:extLst>
          </p:cNvPr>
          <p:cNvSpPr txBox="1"/>
          <p:nvPr userDrawn="1"/>
        </p:nvSpPr>
        <p:spPr>
          <a:xfrm>
            <a:off x="317898" y="135733"/>
            <a:ext cx="8508206" cy="5702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ru-RU" sz="1600" dirty="0"/>
          </a:p>
        </p:txBody>
      </p:sp>
      <p:sp>
        <p:nvSpPr>
          <p:cNvPr id="12" name="Title 11">
            <a:extLst>
              <a:ext uri="{FF2B5EF4-FFF2-40B4-BE49-F238E27FC236}">
                <a16:creationId xmlns="" xmlns:a16="http://schemas.microsoft.com/office/drawing/2014/main" id="{FCA4F0D3-FF81-43A0-9344-B062391A09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896" y="145817"/>
            <a:ext cx="8508206" cy="594000"/>
          </a:xfrm>
        </p:spPr>
        <p:txBody>
          <a:bodyPr lIns="0" tIns="0" rIns="0" bIns="0">
            <a:noAutofit/>
          </a:bodyPr>
          <a:lstStyle>
            <a:lvl1pPr>
              <a:defRPr sz="2100"/>
            </a:lvl1pPr>
          </a:lstStyle>
          <a:p>
            <a:r>
              <a:rPr lang="en-US" dirty="0"/>
              <a:t>Action Title</a:t>
            </a:r>
            <a:r>
              <a:rPr lang="ru-RU" dirty="0"/>
              <a:t> 2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="" xmlns:a16="http://schemas.microsoft.com/office/drawing/2014/main" id="{15A9BE15-E03A-4AD7-A5BC-A226B5B23F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6600" y="4860762"/>
            <a:ext cx="2057400" cy="273844"/>
          </a:xfrm>
          <a:prstGeom prst="rect">
            <a:avLst/>
          </a:prstGeom>
        </p:spPr>
        <p:txBody>
          <a:bodyPr vert="horz" lIns="58301" tIns="29151" rIns="58301" bIns="29151" rtlCol="0" anchor="ctr"/>
          <a:lstStyle>
            <a:lvl1pPr algn="r">
              <a:defRPr sz="11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E2C090-557E-40C8-A4B4-D264F76CF2AA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B4367667-3367-485C-93D0-4A95B01FDA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17500" y="971551"/>
            <a:ext cx="8605838" cy="2526506"/>
          </a:xfrm>
        </p:spPr>
        <p:txBody>
          <a:bodyPr>
            <a:normAutofit/>
          </a:bodyPr>
          <a:lstStyle>
            <a:lvl1pPr>
              <a:defRPr sz="2100"/>
            </a:lvl1pPr>
            <a:lvl2pPr marL="612163" indent="-204054">
              <a:buFont typeface="Arial" panose="020B0604020202020204" pitchFamily="34" charset="0"/>
              <a:buChar char="−"/>
              <a:defRPr sz="1800"/>
            </a:lvl2pPr>
            <a:lvl3pPr marL="1020272" indent="-204054">
              <a:buFont typeface="Wingdings" panose="05000000000000000000" pitchFamily="2" charset="2"/>
              <a:buChar char="§"/>
              <a:defRPr sz="1600"/>
            </a:lvl3pPr>
            <a:lvl4pPr marL="1428380" indent="-204054">
              <a:buFont typeface="Courier New" panose="02070309020205020404" pitchFamily="49" charset="0"/>
              <a:buChar char="o"/>
              <a:defRPr sz="1400"/>
            </a:lvl4pPr>
            <a:lvl5pPr marL="1836488" indent="-204054">
              <a:buFont typeface="Wingdings" panose="05000000000000000000" pitchFamily="2" charset="2"/>
              <a:buChar char="ü"/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768068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76">
          <p15:clr>
            <a:srgbClr val="FBAE40"/>
          </p15:clr>
        </p15:guide>
        <p15:guide id="4" pos="5585">
          <p15:clr>
            <a:srgbClr val="FBAE40"/>
          </p15:clr>
        </p15:guide>
        <p15:guide id="5" orient="horz" pos="663">
          <p15:clr>
            <a:srgbClr val="FBAE40"/>
          </p15:clr>
        </p15:guide>
        <p15:guide id="6" orient="horz" pos="411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9B9A0953-CAED-46B0-BBA0-F51CEA9BB6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7729055"/>
              </p:ext>
            </p:extLst>
          </p:nvPr>
        </p:nvGraphicFramePr>
        <p:xfrm>
          <a:off x="1134" y="853"/>
          <a:ext cx="1134" cy="8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853"/>
                        <a:ext cx="1134" cy="8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31D24B10-D36A-4167-A645-A06B3AA266A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113393" cy="850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9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7/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3968406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4D98D875-4506-4EF9-AC4D-C7227BD44F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2372479"/>
              </p:ext>
            </p:extLst>
          </p:nvPr>
        </p:nvGraphicFramePr>
        <p:xfrm>
          <a:off x="1134" y="853"/>
          <a:ext cx="1134" cy="8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853"/>
                        <a:ext cx="1134" cy="8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3EC8F773-5A83-4293-B130-C597DA5313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113393" cy="850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  <a:lvl2pPr marL="4081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8162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2243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63243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04054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44865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285675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26486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7/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8174266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69BC1D92-599B-4977-B95A-8EE86AA37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5094995"/>
              </p:ext>
            </p:extLst>
          </p:nvPr>
        </p:nvGraphicFramePr>
        <p:xfrm>
          <a:off x="1134" y="853"/>
          <a:ext cx="1134" cy="8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853"/>
                        <a:ext cx="1134" cy="8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FD3AAD26-8B14-467D-8626-48633CA653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113393" cy="850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9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20"/>
            <a:ext cx="3886200" cy="32635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20"/>
            <a:ext cx="3886200" cy="32635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7/5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3893227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9A3C61B4-FF3F-4828-9CD6-C9FC5DC42B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4406345"/>
              </p:ext>
            </p:extLst>
          </p:nvPr>
        </p:nvGraphicFramePr>
        <p:xfrm>
          <a:off x="1134" y="853"/>
          <a:ext cx="1134" cy="8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0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853"/>
                        <a:ext cx="1134" cy="8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48D557CB-3F6D-4D2D-AD01-E791B7B1C8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113393" cy="850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9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5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408109" indent="0">
              <a:buNone/>
              <a:defRPr sz="1800" b="1"/>
            </a:lvl2pPr>
            <a:lvl3pPr marL="816216" indent="0">
              <a:buNone/>
              <a:defRPr sz="1600" b="1"/>
            </a:lvl3pPr>
            <a:lvl4pPr marL="1224325" indent="0">
              <a:buNone/>
              <a:defRPr sz="1400" b="1"/>
            </a:lvl4pPr>
            <a:lvl5pPr marL="1632434" indent="0">
              <a:buNone/>
              <a:defRPr sz="1400" b="1"/>
            </a:lvl5pPr>
            <a:lvl6pPr marL="2040542" indent="0">
              <a:buNone/>
              <a:defRPr sz="1400" b="1"/>
            </a:lvl6pPr>
            <a:lvl7pPr marL="2448651" indent="0">
              <a:buNone/>
              <a:defRPr sz="1400" b="1"/>
            </a:lvl7pPr>
            <a:lvl8pPr marL="2856759" indent="0">
              <a:buNone/>
              <a:defRPr sz="1400" b="1"/>
            </a:lvl8pPr>
            <a:lvl9pPr marL="3264868" indent="0">
              <a:buNone/>
              <a:defRPr sz="1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8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3" y="1260872"/>
            <a:ext cx="3887391" cy="617934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408109" indent="0">
              <a:buNone/>
              <a:defRPr sz="1800" b="1"/>
            </a:lvl2pPr>
            <a:lvl3pPr marL="816216" indent="0">
              <a:buNone/>
              <a:defRPr sz="1600" b="1"/>
            </a:lvl3pPr>
            <a:lvl4pPr marL="1224325" indent="0">
              <a:buNone/>
              <a:defRPr sz="1400" b="1"/>
            </a:lvl4pPr>
            <a:lvl5pPr marL="1632434" indent="0">
              <a:buNone/>
              <a:defRPr sz="1400" b="1"/>
            </a:lvl5pPr>
            <a:lvl6pPr marL="2040542" indent="0">
              <a:buNone/>
              <a:defRPr sz="1400" b="1"/>
            </a:lvl6pPr>
            <a:lvl7pPr marL="2448651" indent="0">
              <a:buNone/>
              <a:defRPr sz="1400" b="1"/>
            </a:lvl7pPr>
            <a:lvl8pPr marL="2856759" indent="0">
              <a:buNone/>
              <a:defRPr sz="1400" b="1"/>
            </a:lvl8pPr>
            <a:lvl9pPr marL="3264868" indent="0">
              <a:buNone/>
              <a:defRPr sz="1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3" y="1878808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7/5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5381159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F6D3532C-FF66-44AF-8A4F-7C1BF253EF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6565798"/>
              </p:ext>
            </p:extLst>
          </p:nvPr>
        </p:nvGraphicFramePr>
        <p:xfrm>
          <a:off x="1134" y="853"/>
          <a:ext cx="1134" cy="8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2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853"/>
                        <a:ext cx="1134" cy="8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="" xmlns:a16="http://schemas.microsoft.com/office/drawing/2014/main" id="{A054D35B-F7A1-403E-9D80-7DFD6AEA38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113393" cy="850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9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7/5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6437671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7/5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1284193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41502608-29AA-412F-88A8-68CF67D282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6347773"/>
              </p:ext>
            </p:extLst>
          </p:nvPr>
        </p:nvGraphicFramePr>
        <p:xfrm>
          <a:off x="1134" y="853"/>
          <a:ext cx="1134" cy="8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4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853"/>
                        <a:ext cx="1134" cy="8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568F1145-E88B-4A58-A2A6-CEDB0A253B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113393" cy="850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9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342900"/>
            <a:ext cx="2949178" cy="1200150"/>
          </a:xfrm>
        </p:spPr>
        <p:txBody>
          <a:bodyPr anchor="b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>
              <a:defRPr sz="2900"/>
            </a:lvl1pPr>
            <a:lvl2pPr>
              <a:defRPr sz="25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1543052"/>
            <a:ext cx="2949178" cy="2858691"/>
          </a:xfrm>
        </p:spPr>
        <p:txBody>
          <a:bodyPr/>
          <a:lstStyle>
            <a:lvl1pPr marL="0" indent="0">
              <a:buNone/>
              <a:defRPr sz="1400"/>
            </a:lvl1pPr>
            <a:lvl2pPr marL="408109" indent="0">
              <a:buNone/>
              <a:defRPr sz="1200"/>
            </a:lvl2pPr>
            <a:lvl3pPr marL="816216" indent="0">
              <a:buNone/>
              <a:defRPr sz="1100"/>
            </a:lvl3pPr>
            <a:lvl4pPr marL="1224325" indent="0">
              <a:buNone/>
              <a:defRPr sz="900"/>
            </a:lvl4pPr>
            <a:lvl5pPr marL="1632434" indent="0">
              <a:buNone/>
              <a:defRPr sz="900"/>
            </a:lvl5pPr>
            <a:lvl6pPr marL="2040542" indent="0">
              <a:buNone/>
              <a:defRPr sz="900"/>
            </a:lvl6pPr>
            <a:lvl7pPr marL="2448651" indent="0">
              <a:buNone/>
              <a:defRPr sz="900"/>
            </a:lvl7pPr>
            <a:lvl8pPr marL="2856759" indent="0">
              <a:buNone/>
              <a:defRPr sz="900"/>
            </a:lvl8pPr>
            <a:lvl9pPr marL="3264868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7/5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3826494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5"/>
            <a:ext cx="7886700" cy="994172"/>
          </a:xfrm>
          <a:prstGeom prst="rect">
            <a:avLst/>
          </a:prstGeom>
        </p:spPr>
        <p:txBody>
          <a:bodyPr vert="horz" lIns="58301" tIns="29151" rIns="58301" bIns="29151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20"/>
            <a:ext cx="7886700" cy="3263503"/>
          </a:xfrm>
          <a:prstGeom prst="rect">
            <a:avLst/>
          </a:prstGeom>
        </p:spPr>
        <p:txBody>
          <a:bodyPr vert="horz" lIns="58301" tIns="29151" rIns="58301" bIns="29151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58301" tIns="29151" rIns="58301" bIns="29151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pPr/>
              <a:t>7/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58301" tIns="29151" rIns="58301" bIns="29151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58301" tIns="29151" rIns="58301" bIns="29151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3590EA2D-5BB2-461D-A7BC-35F89E83A5D1}"/>
              </a:ext>
            </a:extLst>
          </p:cNvPr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547014307"/>
              </p:ext>
            </p:extLst>
          </p:nvPr>
        </p:nvGraphicFramePr>
        <p:xfrm>
          <a:off x="1588" y="1193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1" name="think-cell Slide" r:id="rId26" imgW="360" imgH="360" progId="">
                  <p:embed/>
                </p:oleObj>
              </mc:Choice>
              <mc:Fallback>
                <p:oleObj name="think-cell Slide" r:id="rId26" imgW="360" imgH="360" progId="">
                  <p:embed/>
                  <p:pic>
                    <p:nvPicPr>
                      <p:cNvPr id="0" name="Picture 2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3"/>
                        <a:ext cx="1588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BAD41EC6-78D9-4512-B2AB-FBB941FA054C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0" y="2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9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4147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50" r:id="rId13"/>
    <p:sldLayoutId id="2147483652" r:id="rId14"/>
    <p:sldLayoutId id="2147483651" r:id="rId15"/>
    <p:sldLayoutId id="2147483683" r:id="rId16"/>
    <p:sldLayoutId id="2147483684" r:id="rId17"/>
    <p:sldLayoutId id="2147483685" r:id="rId18"/>
    <p:sldLayoutId id="2147483686" r:id="rId19"/>
    <p:sldLayoutId id="2147483690" r:id="rId20"/>
    <p:sldLayoutId id="2147483692" r:id="rId21"/>
  </p:sldLayoutIdLst>
  <p:hf hdr="0" ftr="0" dt="0"/>
  <p:txStyles>
    <p:titleStyle>
      <a:lvl1pPr algn="l" defTabSz="816216" rtl="0" eaLnBrk="1" latinLnBrk="0" hangingPunct="1">
        <a:lnSpc>
          <a:spcPct val="90000"/>
        </a:lnSpc>
        <a:spcBef>
          <a:spcPct val="0"/>
        </a:spcBef>
        <a:buNone/>
        <a:defRPr sz="3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4054" indent="-204054" algn="l" defTabSz="816216" rtl="0" eaLnBrk="1" latinLnBrk="0" hangingPunct="1">
        <a:lnSpc>
          <a:spcPct val="90000"/>
        </a:lnSpc>
        <a:spcBef>
          <a:spcPts val="893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12163" indent="-204054" algn="l" defTabSz="816216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20272" indent="-204054" algn="l" defTabSz="816216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28380" indent="-204054" algn="l" defTabSz="816216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36488" indent="-204054" algn="l" defTabSz="816216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44597" indent="-204054" algn="l" defTabSz="816216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652706" indent="-204054" algn="l" defTabSz="816216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060815" indent="-204054" algn="l" defTabSz="816216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468922" indent="-204054" algn="l" defTabSz="816216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621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09" algn="l" defTabSz="81621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216" algn="l" defTabSz="81621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325" algn="l" defTabSz="81621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434" algn="l" defTabSz="81621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542" algn="l" defTabSz="81621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8651" algn="l" defTabSz="81621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6759" algn="l" defTabSz="81621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4868" algn="l" defTabSz="81621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18" Type="http://schemas.openxmlformats.org/officeDocument/2006/relationships/image" Target="../media/image2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17" Type="http://schemas.openxmlformats.org/officeDocument/2006/relationships/image" Target="../media/image23.png"/><Relationship Id="rId2" Type="http://schemas.openxmlformats.org/officeDocument/2006/relationships/image" Target="../media/image8.png"/><Relationship Id="rId16" Type="http://schemas.openxmlformats.org/officeDocument/2006/relationships/image" Target="../media/image2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5" Type="http://schemas.openxmlformats.org/officeDocument/2006/relationships/image" Target="../media/image2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6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5" Type="http://schemas.openxmlformats.org/officeDocument/2006/relationships/image" Target="../media/image2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Relationship Id="rId1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9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7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Relationship Id="rId14" Type="http://schemas.openxmlformats.org/officeDocument/2006/relationships/image" Target="../media/image2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3" Type="http://schemas.openxmlformats.org/officeDocument/2006/relationships/image" Target="../media/image29.pn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5" Type="http://schemas.openxmlformats.org/officeDocument/2006/relationships/image" Target="../media/image13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7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876461" y="392001"/>
            <a:ext cx="597666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sz="1800" dirty="0"/>
          </a:p>
        </p:txBody>
      </p:sp>
      <p:sp>
        <p:nvSpPr>
          <p:cNvPr id="5" name="object 17"/>
          <p:cNvSpPr txBox="1"/>
          <p:nvPr/>
        </p:nvSpPr>
        <p:spPr>
          <a:xfrm>
            <a:off x="285345" y="3062264"/>
            <a:ext cx="8671547" cy="18466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2700" algn="just">
              <a:defRPr/>
            </a:pPr>
            <a:r>
              <a:rPr lang="ru-RU" sz="2000" dirty="0" smtClean="0">
                <a:solidFill>
                  <a:srgbClr val="002060"/>
                </a:solidFill>
                <a:cs typeface="Arial" pitchFamily="34" charset="0"/>
              </a:rPr>
              <a:t>Для родителей предусмотрен ряд мер господдержки на разных этапах жизни ребенка. Так, существуют выплаты беременным, семьям с детьми до трех лет и </a:t>
            </a:r>
            <a:r>
              <a:rPr lang="ru-RU" sz="2000" dirty="0" smtClean="0">
                <a:solidFill>
                  <a:srgbClr val="002060"/>
                </a:solidFill>
                <a:cs typeface="Arial" pitchFamily="34" charset="0"/>
              </a:rPr>
              <a:t>старше и др. </a:t>
            </a:r>
            <a:r>
              <a:rPr lang="ru-RU" sz="2000" dirty="0" smtClean="0">
                <a:solidFill>
                  <a:srgbClr val="002060"/>
                </a:solidFill>
                <a:cs typeface="Arial" pitchFamily="34" charset="0"/>
              </a:rPr>
              <a:t>Помимо пособий, семьи могут получить единовременные выплаты. Подробности о том, какие меры поддержки забайкальских семей </a:t>
            </a:r>
            <a:r>
              <a:rPr lang="ru-RU" sz="2000" dirty="0" smtClean="0">
                <a:solidFill>
                  <a:srgbClr val="002060"/>
                </a:solidFill>
                <a:cs typeface="Arial" pitchFamily="34" charset="0"/>
              </a:rPr>
              <a:t>с детьми существуют</a:t>
            </a:r>
            <a:r>
              <a:rPr lang="ru-RU" sz="2000" dirty="0" smtClean="0">
                <a:solidFill>
                  <a:srgbClr val="002060"/>
                </a:solidFill>
                <a:cs typeface="Arial" pitchFamily="34" charset="0"/>
              </a:rPr>
              <a:t>, кто может претендовать и как рассчитывается их размер, - в наших карточках. </a:t>
            </a:r>
            <a:endParaRPr lang="ru-RU" sz="2000" dirty="0">
              <a:solidFill>
                <a:srgbClr val="002060"/>
              </a:solidFill>
              <a:cs typeface="Arial" pitchFamily="34" charset="0"/>
            </a:endParaRPr>
          </a:p>
        </p:txBody>
      </p:sp>
      <p:pic>
        <p:nvPicPr>
          <p:cNvPr id="3" name="Объект 2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2231" y="-1858"/>
            <a:ext cx="3532647" cy="2960700"/>
          </a:xfr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04" t="6551" r="23103" b="14400"/>
          <a:stretch/>
        </p:blipFill>
        <p:spPr>
          <a:xfrm>
            <a:off x="214841" y="985506"/>
            <a:ext cx="677694" cy="696875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214841" y="212994"/>
            <a:ext cx="621947" cy="51796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5502" y="1806394"/>
            <a:ext cx="856371" cy="851717"/>
          </a:xfrm>
          <a:prstGeom prst="rect">
            <a:avLst/>
          </a:prstGeom>
        </p:spPr>
      </p:pic>
      <p:sp>
        <p:nvSpPr>
          <p:cNvPr id="12" name="object 17"/>
          <p:cNvSpPr txBox="1"/>
          <p:nvPr/>
        </p:nvSpPr>
        <p:spPr>
          <a:xfrm>
            <a:off x="1862714" y="576667"/>
            <a:ext cx="2768676" cy="18466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2700" algn="ctr">
              <a:defRPr/>
            </a:pPr>
            <a:r>
              <a:rPr lang="ru-RU" sz="2000" b="1" dirty="0" smtClean="0">
                <a:solidFill>
                  <a:srgbClr val="002060"/>
                </a:solidFill>
                <a:cs typeface="Arial" pitchFamily="34" charset="0"/>
              </a:rPr>
              <a:t>КАКИЕ </a:t>
            </a:r>
          </a:p>
          <a:p>
            <a:pPr marL="12700" algn="ctr">
              <a:defRPr/>
            </a:pPr>
            <a:r>
              <a:rPr lang="ru-RU" sz="2000" b="1" dirty="0" smtClean="0">
                <a:solidFill>
                  <a:srgbClr val="92D050"/>
                </a:solidFill>
                <a:cs typeface="Arial" pitchFamily="34" charset="0"/>
              </a:rPr>
              <a:t>МЕРЫ ПОДДЕРЖКИ </a:t>
            </a:r>
            <a:r>
              <a:rPr lang="ru-RU" sz="2000" b="1" dirty="0" smtClean="0">
                <a:solidFill>
                  <a:srgbClr val="002060"/>
                </a:solidFill>
                <a:cs typeface="Arial" pitchFamily="34" charset="0"/>
              </a:rPr>
              <a:t>СУЩЕСТВУЮТ ДЛЯ СЕМЕЙ С ДЕТЬМИ </a:t>
            </a:r>
          </a:p>
          <a:p>
            <a:pPr marL="12700" algn="ctr">
              <a:defRPr/>
            </a:pPr>
            <a:r>
              <a:rPr lang="ru-RU" sz="2000" b="1" dirty="0" smtClean="0">
                <a:solidFill>
                  <a:srgbClr val="002060"/>
                </a:solidFill>
                <a:cs typeface="Arial" pitchFamily="34" charset="0"/>
              </a:rPr>
              <a:t>В ЗАБАЙКАЛЬСКОМ КРАЕ</a:t>
            </a:r>
            <a:endParaRPr lang="ru-RU" sz="2000" b="1" dirty="0">
              <a:solidFill>
                <a:srgbClr val="00206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924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17"/>
          <p:cNvSpPr txBox="1"/>
          <p:nvPr/>
        </p:nvSpPr>
        <p:spPr>
          <a:xfrm>
            <a:off x="1954436" y="174948"/>
            <a:ext cx="530749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/>
            <a:r>
              <a:rPr lang="ru-RU" sz="1600" b="1" dirty="0" smtClean="0">
                <a:solidFill>
                  <a:srgbClr val="92D050"/>
                </a:solidFill>
                <a:cs typeface="Arial" pitchFamily="34" charset="0"/>
              </a:rPr>
              <a:t>ЕЖЕМЕСЯЧНОЕ</a:t>
            </a:r>
            <a:r>
              <a:rPr lang="ru-RU" sz="1600" b="1" dirty="0" smtClean="0">
                <a:solidFill>
                  <a:srgbClr val="002060"/>
                </a:solidFill>
                <a:cs typeface="Arial" pitchFamily="34" charset="0"/>
              </a:rPr>
              <a:t> ПОСОБИЕ БУДУЩИМ МАТЕРЯМ</a:t>
            </a:r>
            <a:endParaRPr lang="ru-RU" sz="1600" b="1" dirty="0">
              <a:solidFill>
                <a:srgbClr val="002060"/>
              </a:solidFill>
              <a:cs typeface="Arial" pitchFamily="34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110770" y="542911"/>
            <a:ext cx="8898107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Прямоугольник 36"/>
          <p:cNvSpPr/>
          <p:nvPr/>
        </p:nvSpPr>
        <p:spPr>
          <a:xfrm>
            <a:off x="110770" y="2642824"/>
            <a:ext cx="244370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593411">
              <a:defRPr/>
            </a:pPr>
            <a:r>
              <a:rPr lang="ru-RU" sz="1000" dirty="0"/>
              <a:t>Женщине, вставшей на учет в медицинскую организацию до 12 недель беременности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789419" y="712457"/>
            <a:ext cx="108555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16216" fontAlgn="b"/>
            <a:r>
              <a:rPr lang="ru-RU" sz="2800" b="1" dirty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9 166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3596588" y="714005"/>
            <a:ext cx="1285929" cy="8925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16216" fontAlgn="b"/>
            <a:r>
              <a:rPr lang="ru-RU" sz="2800" b="1" dirty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13 749</a:t>
            </a:r>
          </a:p>
          <a:p>
            <a:pPr algn="ctr" defTabSz="816216" fontAlgn="b"/>
            <a:endParaRPr lang="ru-RU" sz="24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5572452" y="722433"/>
            <a:ext cx="12859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16216" fontAlgn="b"/>
            <a:r>
              <a:rPr lang="ru-RU" sz="2800" b="1" dirty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18 333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397866" y="2337955"/>
            <a:ext cx="176683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/>
              <a:t>Кому выплачивается?</a:t>
            </a:r>
            <a:endParaRPr lang="ru-RU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1621278" y="1421204"/>
            <a:ext cx="604400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i="1" dirty="0" smtClean="0"/>
              <a:t>               50%                                                    75%                                               100% </a:t>
            </a:r>
          </a:p>
          <a:p>
            <a:pPr algn="just"/>
            <a:r>
              <a:rPr lang="ru-RU" sz="1000" i="1" dirty="0" smtClean="0"/>
              <a:t>              от регионального прожиточного минимума (ПМ) трудоспособного населения </a:t>
            </a:r>
            <a:endParaRPr lang="ru-RU" sz="1000" i="1" dirty="0"/>
          </a:p>
        </p:txBody>
      </p:sp>
      <p:sp>
        <p:nvSpPr>
          <p:cNvPr id="41" name="Rectangle 4"/>
          <p:cNvSpPr>
            <a:spLocks noChangeArrowheads="1"/>
          </p:cNvSpPr>
          <p:nvPr/>
        </p:nvSpPr>
        <p:spPr bwMode="auto">
          <a:xfrm>
            <a:off x="6652594" y="2523653"/>
            <a:ext cx="2615903" cy="1169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algn="ctr" defTabSz="159341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altLang="ru-RU" sz="1000" dirty="0" smtClean="0"/>
              <a:t>Ежемесячный </a:t>
            </a:r>
            <a:r>
              <a:rPr lang="ru-RU" altLang="ru-RU" sz="1000" dirty="0"/>
              <a:t>доход в семье не превышает ПМ на душу населения </a:t>
            </a:r>
            <a:endParaRPr lang="ru-RU" altLang="ru-RU" sz="1000" dirty="0" smtClean="0"/>
          </a:p>
          <a:p>
            <a:pPr marR="0" lvl="0" algn="ctr" defTabSz="159341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altLang="ru-RU" sz="1000" dirty="0" smtClean="0"/>
              <a:t>16 </a:t>
            </a:r>
            <a:r>
              <a:rPr lang="ru-RU" altLang="ru-RU" sz="1000" dirty="0"/>
              <a:t>819 руб. </a:t>
            </a:r>
          </a:p>
          <a:p>
            <a:pPr marR="0" lvl="0" algn="ctr" defTabSz="159341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altLang="ru-RU" sz="1000" dirty="0" smtClean="0"/>
              <a:t>Собственность </a:t>
            </a:r>
            <a:r>
              <a:rPr lang="ru-RU" altLang="ru-RU" sz="1000" dirty="0"/>
              <a:t>семьи соответствует критериям </a:t>
            </a:r>
            <a:endParaRPr lang="ru-RU" altLang="ru-RU" sz="1000" dirty="0" smtClean="0"/>
          </a:p>
          <a:p>
            <a:pPr marR="0" lvl="0" algn="ctr" defTabSz="159341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altLang="ru-RU" sz="1000" dirty="0" smtClean="0"/>
              <a:t>Трудоспособные члены семьи имеют доход или причины отсутствия его</a:t>
            </a:r>
            <a:endParaRPr lang="ru-RU" altLang="ru-RU" sz="1000" dirty="0"/>
          </a:p>
        </p:txBody>
      </p:sp>
      <p:sp>
        <p:nvSpPr>
          <p:cNvPr id="43" name="Прямоугольник 42"/>
          <p:cNvSpPr/>
          <p:nvPr/>
        </p:nvSpPr>
        <p:spPr>
          <a:xfrm>
            <a:off x="7113188" y="2361512"/>
            <a:ext cx="16610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b="1" dirty="0"/>
              <a:t>Условия </a:t>
            </a:r>
            <a:r>
              <a:rPr lang="ru-RU" altLang="ru-RU" b="1" dirty="0" smtClean="0"/>
              <a:t>получения?</a:t>
            </a:r>
            <a:endParaRPr lang="ru-RU" altLang="ru-RU" b="1" dirty="0"/>
          </a:p>
        </p:txBody>
      </p:sp>
      <p:sp>
        <p:nvSpPr>
          <p:cNvPr id="44" name="Прямоугольник 43"/>
          <p:cNvSpPr/>
          <p:nvPr/>
        </p:nvSpPr>
        <p:spPr>
          <a:xfrm>
            <a:off x="6832103" y="4350627"/>
            <a:ext cx="243639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b="1" dirty="0" smtClean="0"/>
              <a:t>Где оформить?</a:t>
            </a:r>
          </a:p>
          <a:p>
            <a:pPr algn="ctr" defTabSz="159341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000" dirty="0"/>
              <a:t>через </a:t>
            </a:r>
            <a:r>
              <a:rPr lang="ru-RU" altLang="ru-RU" sz="1000" dirty="0" err="1"/>
              <a:t>Госуслуги</a:t>
            </a:r>
            <a:r>
              <a:rPr lang="ru-RU" altLang="ru-RU" sz="1000" dirty="0"/>
              <a:t>, </a:t>
            </a:r>
            <a:r>
              <a:rPr lang="ru-RU" altLang="ru-RU" sz="1000" dirty="0" smtClean="0"/>
              <a:t>МФЦ, СФР</a:t>
            </a:r>
            <a:endParaRPr lang="ru-RU" altLang="ru-RU" sz="1000" dirty="0"/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b="1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5607" y="2106699"/>
            <a:ext cx="2327656" cy="2243928"/>
          </a:xfrm>
          <a:prstGeom prst="rect">
            <a:avLst/>
          </a:prstGeom>
        </p:spPr>
      </p:pic>
      <p:cxnSp>
        <p:nvCxnSpPr>
          <p:cNvPr id="21" name="Прямая со стрелкой 20"/>
          <p:cNvCxnSpPr/>
          <p:nvPr/>
        </p:nvCxnSpPr>
        <p:spPr>
          <a:xfrm>
            <a:off x="1780364" y="1324805"/>
            <a:ext cx="5550865" cy="0"/>
          </a:xfrm>
          <a:prstGeom prst="straightConnector1">
            <a:avLst/>
          </a:prstGeom>
          <a:ln w="9525" cap="flat" cmpd="sng" algn="ctr">
            <a:solidFill>
              <a:schemeClr val="accent4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23" name="Рисунок 2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17214" y="796184"/>
            <a:ext cx="304276" cy="408175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1554" y="820380"/>
            <a:ext cx="311513" cy="417883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14879" y="803846"/>
            <a:ext cx="298309" cy="440627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81149" y="4090878"/>
            <a:ext cx="225104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593411">
              <a:defRPr/>
            </a:pPr>
            <a:r>
              <a:rPr lang="ru-RU" sz="1000" dirty="0" smtClean="0"/>
              <a:t>С месяца постановки на учет (не ранее 6 </a:t>
            </a:r>
            <a:r>
              <a:rPr lang="ru-RU" sz="1000" dirty="0" err="1" smtClean="0"/>
              <a:t>мес</a:t>
            </a:r>
            <a:r>
              <a:rPr lang="ru-RU" sz="1000" dirty="0" smtClean="0"/>
              <a:t>) до месяца </a:t>
            </a:r>
            <a:r>
              <a:rPr lang="ru-RU" sz="1000" dirty="0"/>
              <a:t>родов или прерывания беременности</a:t>
            </a:r>
            <a:endParaRPr lang="ru-RU" sz="1000" spc="-5" dirty="0">
              <a:latin typeface="Montserrat"/>
              <a:cs typeface="Montserrat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28534" y="3829268"/>
            <a:ext cx="181171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/>
              <a:t>Когда выплачивается?</a:t>
            </a:r>
            <a:endParaRPr lang="ru-RU" dirty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9758" y="2063695"/>
            <a:ext cx="613831" cy="336792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5193" y="3378774"/>
            <a:ext cx="558396" cy="522601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00735" y="3917372"/>
            <a:ext cx="485938" cy="450505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65282" y="1921711"/>
            <a:ext cx="538234" cy="493381"/>
          </a:xfrm>
          <a:prstGeom prst="rect">
            <a:avLst/>
          </a:prstGeom>
        </p:spPr>
      </p:pic>
      <p:grpSp>
        <p:nvGrpSpPr>
          <p:cNvPr id="38" name="Group 45">
            <a:extLst>
              <a:ext uri="{FF2B5EF4-FFF2-40B4-BE49-F238E27FC236}">
                <a16:creationId xmlns="" xmlns:a16="http://schemas.microsoft.com/office/drawing/2014/main" id="{F1DF1D25-E3DA-5D4F-AFBC-07A397F39861}"/>
              </a:ext>
            </a:extLst>
          </p:cNvPr>
          <p:cNvGrpSpPr/>
          <p:nvPr/>
        </p:nvGrpSpPr>
        <p:grpSpPr>
          <a:xfrm>
            <a:off x="395529" y="201900"/>
            <a:ext cx="466538" cy="579312"/>
            <a:chOff x="634994" y="480009"/>
            <a:chExt cx="914452" cy="1075526"/>
          </a:xfrm>
        </p:grpSpPr>
        <p:pic>
          <p:nvPicPr>
            <p:cNvPr id="39" name="object 3">
              <a:extLst>
                <a:ext uri="{FF2B5EF4-FFF2-40B4-BE49-F238E27FC236}">
                  <a16:creationId xmlns="" xmlns:a16="http://schemas.microsoft.com/office/drawing/2014/main" id="{F380E581-197A-4749-AE4D-D24057C2E559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637218" y="1352696"/>
              <a:ext cx="163266" cy="78676"/>
            </a:xfrm>
            <a:prstGeom prst="rect">
              <a:avLst/>
            </a:prstGeom>
          </p:spPr>
        </p:pic>
        <p:pic>
          <p:nvPicPr>
            <p:cNvPr id="40" name="object 4">
              <a:extLst>
                <a:ext uri="{FF2B5EF4-FFF2-40B4-BE49-F238E27FC236}">
                  <a16:creationId xmlns="" xmlns:a16="http://schemas.microsoft.com/office/drawing/2014/main" id="{4976A38B-ADEE-694B-A409-33A3A8A65F83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822641" y="1353580"/>
              <a:ext cx="341118" cy="89957"/>
            </a:xfrm>
            <a:prstGeom prst="rect">
              <a:avLst/>
            </a:prstGeom>
          </p:spPr>
        </p:pic>
        <p:sp>
          <p:nvSpPr>
            <p:cNvPr id="46" name="object 5">
              <a:extLst>
                <a:ext uri="{FF2B5EF4-FFF2-40B4-BE49-F238E27FC236}">
                  <a16:creationId xmlns="" xmlns:a16="http://schemas.microsoft.com/office/drawing/2014/main" id="{EE08DC63-C15B-4D41-B89D-1CD5929880CB}"/>
                </a:ext>
              </a:extLst>
            </p:cNvPr>
            <p:cNvSpPr/>
            <p:nvPr/>
          </p:nvSpPr>
          <p:spPr>
            <a:xfrm>
              <a:off x="1192096" y="1353577"/>
              <a:ext cx="62230" cy="77470"/>
            </a:xfrm>
            <a:custGeom>
              <a:avLst/>
              <a:gdLst/>
              <a:ahLst/>
              <a:cxnLst/>
              <a:rect l="l" t="t" r="r" b="b"/>
              <a:pathLst>
                <a:path w="62230" h="77469">
                  <a:moveTo>
                    <a:pt x="10883" y="0"/>
                  </a:moveTo>
                  <a:lnTo>
                    <a:pt x="0" y="0"/>
                  </a:lnTo>
                  <a:lnTo>
                    <a:pt x="0" y="76923"/>
                  </a:lnTo>
                  <a:lnTo>
                    <a:pt x="31750" y="76923"/>
                  </a:lnTo>
                  <a:lnTo>
                    <a:pt x="44600" y="75284"/>
                  </a:lnTo>
                  <a:lnTo>
                    <a:pt x="54124" y="70399"/>
                  </a:lnTo>
                  <a:lnTo>
                    <a:pt x="55698" y="68249"/>
                  </a:lnTo>
                  <a:lnTo>
                    <a:pt x="10883" y="68249"/>
                  </a:lnTo>
                  <a:lnTo>
                    <a:pt x="10883" y="35483"/>
                  </a:lnTo>
                  <a:lnTo>
                    <a:pt x="56574" y="35483"/>
                  </a:lnTo>
                  <a:lnTo>
                    <a:pt x="54738" y="32935"/>
                  </a:lnTo>
                  <a:lnTo>
                    <a:pt x="45848" y="28348"/>
                  </a:lnTo>
                  <a:lnTo>
                    <a:pt x="33731" y="26809"/>
                  </a:lnTo>
                  <a:lnTo>
                    <a:pt x="10883" y="26809"/>
                  </a:lnTo>
                  <a:lnTo>
                    <a:pt x="10883" y="0"/>
                  </a:lnTo>
                  <a:close/>
                </a:path>
                <a:path w="62230" h="77469">
                  <a:moveTo>
                    <a:pt x="56574" y="35483"/>
                  </a:moveTo>
                  <a:lnTo>
                    <a:pt x="44170" y="35483"/>
                  </a:lnTo>
                  <a:lnTo>
                    <a:pt x="51079" y="40436"/>
                  </a:lnTo>
                  <a:lnTo>
                    <a:pt x="51079" y="51320"/>
                  </a:lnTo>
                  <a:lnTo>
                    <a:pt x="49782" y="58643"/>
                  </a:lnTo>
                  <a:lnTo>
                    <a:pt x="45972" y="63942"/>
                  </a:lnTo>
                  <a:lnTo>
                    <a:pt x="39769" y="67163"/>
                  </a:lnTo>
                  <a:lnTo>
                    <a:pt x="31292" y="68249"/>
                  </a:lnTo>
                  <a:lnTo>
                    <a:pt x="55698" y="68249"/>
                  </a:lnTo>
                  <a:lnTo>
                    <a:pt x="60042" y="62318"/>
                  </a:lnTo>
                  <a:lnTo>
                    <a:pt x="62077" y="51092"/>
                  </a:lnTo>
                  <a:lnTo>
                    <a:pt x="60211" y="40531"/>
                  </a:lnTo>
                  <a:lnTo>
                    <a:pt x="56574" y="35483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7" name="object 6">
              <a:extLst>
                <a:ext uri="{FF2B5EF4-FFF2-40B4-BE49-F238E27FC236}">
                  <a16:creationId xmlns="" xmlns:a16="http://schemas.microsoft.com/office/drawing/2014/main" id="{8E5EAE0A-62F7-EA4B-82FF-96E0C0747317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274796" y="1353580"/>
              <a:ext cx="66154" cy="76911"/>
            </a:xfrm>
            <a:prstGeom prst="rect">
              <a:avLst/>
            </a:prstGeom>
          </p:spPr>
        </p:pic>
        <p:pic>
          <p:nvPicPr>
            <p:cNvPr id="48" name="object 7">
              <a:extLst>
                <a:ext uri="{FF2B5EF4-FFF2-40B4-BE49-F238E27FC236}">
                  <a16:creationId xmlns="" xmlns:a16="http://schemas.microsoft.com/office/drawing/2014/main" id="{EE4C96C7-DD26-1549-8CB5-D5C26BAAE2C0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369272" y="1353577"/>
              <a:ext cx="85153" cy="76923"/>
            </a:xfrm>
            <a:prstGeom prst="rect">
              <a:avLst/>
            </a:prstGeom>
          </p:spPr>
        </p:pic>
        <p:sp>
          <p:nvSpPr>
            <p:cNvPr id="49" name="object 8">
              <a:extLst>
                <a:ext uri="{FF2B5EF4-FFF2-40B4-BE49-F238E27FC236}">
                  <a16:creationId xmlns="" xmlns:a16="http://schemas.microsoft.com/office/drawing/2014/main" id="{5F7B07DD-51DB-934D-86C2-E256CABE8B24}"/>
                </a:ext>
              </a:extLst>
            </p:cNvPr>
            <p:cNvSpPr/>
            <p:nvPr/>
          </p:nvSpPr>
          <p:spPr>
            <a:xfrm>
              <a:off x="1482771" y="1353580"/>
              <a:ext cx="66675" cy="77470"/>
            </a:xfrm>
            <a:custGeom>
              <a:avLst/>
              <a:gdLst/>
              <a:ahLst/>
              <a:cxnLst/>
              <a:rect l="l" t="t" r="r" b="b"/>
              <a:pathLst>
                <a:path w="66675" h="77469">
                  <a:moveTo>
                    <a:pt x="66471" y="0"/>
                  </a:moveTo>
                  <a:lnTo>
                    <a:pt x="56349" y="0"/>
                  </a:lnTo>
                  <a:lnTo>
                    <a:pt x="10871" y="59334"/>
                  </a:lnTo>
                  <a:lnTo>
                    <a:pt x="10871" y="0"/>
                  </a:lnTo>
                  <a:lnTo>
                    <a:pt x="0" y="0"/>
                  </a:lnTo>
                  <a:lnTo>
                    <a:pt x="0" y="76911"/>
                  </a:lnTo>
                  <a:lnTo>
                    <a:pt x="10096" y="76911"/>
                  </a:lnTo>
                  <a:lnTo>
                    <a:pt x="55689" y="17691"/>
                  </a:lnTo>
                  <a:lnTo>
                    <a:pt x="55689" y="76911"/>
                  </a:lnTo>
                  <a:lnTo>
                    <a:pt x="66471" y="76911"/>
                  </a:lnTo>
                  <a:lnTo>
                    <a:pt x="66471" y="0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0" name="object 9">
              <a:extLst>
                <a:ext uri="{FF2B5EF4-FFF2-40B4-BE49-F238E27FC236}">
                  <a16:creationId xmlns="" xmlns:a16="http://schemas.microsoft.com/office/drawing/2014/main" id="{41B926E7-0E9E-7948-A232-A8C369A1A103}"/>
                </a:ext>
              </a:extLst>
            </p:cNvPr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634994" y="1464464"/>
              <a:ext cx="188554" cy="82626"/>
            </a:xfrm>
            <a:prstGeom prst="rect">
              <a:avLst/>
            </a:prstGeom>
          </p:spPr>
        </p:pic>
        <p:pic>
          <p:nvPicPr>
            <p:cNvPr id="51" name="object 10">
              <a:extLst>
                <a:ext uri="{FF2B5EF4-FFF2-40B4-BE49-F238E27FC236}">
                  <a16:creationId xmlns="" xmlns:a16="http://schemas.microsoft.com/office/drawing/2014/main" id="{77C660E2-F6D1-B64E-B2B6-A954CF8BF1BC}"/>
                </a:ext>
              </a:extLst>
            </p:cNvPr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845724" y="1467309"/>
              <a:ext cx="164275" cy="88226"/>
            </a:xfrm>
            <a:prstGeom prst="rect">
              <a:avLst/>
            </a:prstGeom>
          </p:spPr>
        </p:pic>
        <p:pic>
          <p:nvPicPr>
            <p:cNvPr id="52" name="object 11">
              <a:extLst>
                <a:ext uri="{FF2B5EF4-FFF2-40B4-BE49-F238E27FC236}">
                  <a16:creationId xmlns="" xmlns:a16="http://schemas.microsoft.com/office/drawing/2014/main" id="{441BF81B-53FE-6A4C-92C5-DB2443010B02}"/>
                </a:ext>
              </a:extLst>
            </p:cNvPr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1057757" y="1466442"/>
              <a:ext cx="319289" cy="78663"/>
            </a:xfrm>
            <a:prstGeom prst="rect">
              <a:avLst/>
            </a:prstGeom>
          </p:spPr>
        </p:pic>
        <p:pic>
          <p:nvPicPr>
            <p:cNvPr id="53" name="object 12">
              <a:extLst>
                <a:ext uri="{FF2B5EF4-FFF2-40B4-BE49-F238E27FC236}">
                  <a16:creationId xmlns="" xmlns:a16="http://schemas.microsoft.com/office/drawing/2014/main" id="{05F2A8D2-8C9F-ED4D-BA00-8EFEA8234DD8}"/>
                </a:ext>
              </a:extLst>
            </p:cNvPr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1396605" y="1467312"/>
              <a:ext cx="66471" cy="76911"/>
            </a:xfrm>
            <a:prstGeom prst="rect">
              <a:avLst/>
            </a:prstGeom>
          </p:spPr>
        </p:pic>
        <p:pic>
          <p:nvPicPr>
            <p:cNvPr id="55" name="object 13">
              <a:extLst>
                <a:ext uri="{FF2B5EF4-FFF2-40B4-BE49-F238E27FC236}">
                  <a16:creationId xmlns="" xmlns:a16="http://schemas.microsoft.com/office/drawing/2014/main" id="{2F4B0F69-CDB3-3749-B04E-A38361F498E6}"/>
                </a:ext>
              </a:extLst>
            </p:cNvPr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482771" y="1467312"/>
              <a:ext cx="66471" cy="76911"/>
            </a:xfrm>
            <a:prstGeom prst="rect">
              <a:avLst/>
            </a:prstGeom>
          </p:spPr>
        </p:pic>
        <p:sp>
          <p:nvSpPr>
            <p:cNvPr id="58" name="object 14">
              <a:extLst>
                <a:ext uri="{FF2B5EF4-FFF2-40B4-BE49-F238E27FC236}">
                  <a16:creationId xmlns="" xmlns:a16="http://schemas.microsoft.com/office/drawing/2014/main" id="{A3D5E69D-7069-7546-B396-DEF8C7BF7E9E}"/>
                </a:ext>
              </a:extLst>
            </p:cNvPr>
            <p:cNvSpPr/>
            <p:nvPr/>
          </p:nvSpPr>
          <p:spPr>
            <a:xfrm>
              <a:off x="1489430" y="1331849"/>
              <a:ext cx="54610" cy="8255"/>
            </a:xfrm>
            <a:custGeom>
              <a:avLst/>
              <a:gdLst/>
              <a:ahLst/>
              <a:cxnLst/>
              <a:rect l="l" t="t" r="r" b="b"/>
              <a:pathLst>
                <a:path w="54609" h="8255">
                  <a:moveTo>
                    <a:pt x="54533" y="0"/>
                  </a:moveTo>
                  <a:lnTo>
                    <a:pt x="0" y="0"/>
                  </a:lnTo>
                  <a:lnTo>
                    <a:pt x="0" y="8115"/>
                  </a:lnTo>
                  <a:lnTo>
                    <a:pt x="54533" y="8115"/>
                  </a:lnTo>
                  <a:lnTo>
                    <a:pt x="54533" y="0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9" name="object 15">
              <a:extLst>
                <a:ext uri="{FF2B5EF4-FFF2-40B4-BE49-F238E27FC236}">
                  <a16:creationId xmlns="" xmlns:a16="http://schemas.microsoft.com/office/drawing/2014/main" id="{D13C6816-0D33-DC44-B3A3-B8C2B694E054}"/>
                </a:ext>
              </a:extLst>
            </p:cNvPr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644093" y="480009"/>
              <a:ext cx="895848" cy="769188"/>
            </a:xfrm>
            <a:prstGeom prst="rect">
              <a:avLst/>
            </a:prstGeom>
          </p:spPr>
        </p:pic>
      </p:grpSp>
      <p:pic>
        <p:nvPicPr>
          <p:cNvPr id="15" name="Рисунок 14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089478" y="4644876"/>
            <a:ext cx="353537" cy="329703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3351897" y="4678922"/>
            <a:ext cx="287931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dirty="0" smtClean="0"/>
              <a:t>Оформляется если нет единого пособия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3304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Скругленный прямоугольник 54"/>
          <p:cNvSpPr/>
          <p:nvPr/>
        </p:nvSpPr>
        <p:spPr>
          <a:xfrm>
            <a:off x="3981855" y="2589272"/>
            <a:ext cx="4821158" cy="56769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2"/>
              </a:solidFill>
            </a:endParaRPr>
          </a:p>
        </p:txBody>
      </p:sp>
      <p:sp>
        <p:nvSpPr>
          <p:cNvPr id="5" name="object 17"/>
          <p:cNvSpPr txBox="1"/>
          <p:nvPr/>
        </p:nvSpPr>
        <p:spPr>
          <a:xfrm>
            <a:off x="1902049" y="165837"/>
            <a:ext cx="530749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/>
            <a:r>
              <a:rPr lang="ru-RU" sz="1600" b="1" dirty="0">
                <a:solidFill>
                  <a:srgbClr val="92D050"/>
                </a:solidFill>
                <a:cs typeface="Arial" pitchFamily="34" charset="0"/>
              </a:rPr>
              <a:t>МАТЕРИНСКИЙ </a:t>
            </a:r>
            <a:r>
              <a:rPr lang="ru-RU" sz="1600" b="1" dirty="0">
                <a:solidFill>
                  <a:srgbClr val="002060"/>
                </a:solidFill>
                <a:cs typeface="Arial" pitchFamily="34" charset="0"/>
              </a:rPr>
              <a:t>КАПИТАЛ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135124" y="563868"/>
            <a:ext cx="8898107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Скругленный прямоугольник 53"/>
          <p:cNvSpPr/>
          <p:nvPr/>
        </p:nvSpPr>
        <p:spPr>
          <a:xfrm>
            <a:off x="247571" y="751357"/>
            <a:ext cx="3183365" cy="46805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2"/>
              </a:solidFill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828450" y="861247"/>
            <a:ext cx="247614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2250" indent="-352250" algn="ctr" defTabSz="1102423">
              <a:defRPr/>
            </a:pPr>
            <a:r>
              <a:rPr lang="ru-RU" b="1" dirty="0" smtClean="0">
                <a:solidFill>
                  <a:srgbClr val="000000"/>
                </a:solidFill>
              </a:rPr>
              <a:t>ФЕДЕРАЛЬНЫЙ МАТКАПИТАЛ </a:t>
            </a:r>
            <a:endParaRPr lang="ru-RU" b="1" dirty="0">
              <a:solidFill>
                <a:srgbClr val="000000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4717297" y="2691153"/>
            <a:ext cx="3962162" cy="304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1050" b="1" dirty="0" smtClean="0"/>
              <a:t>ЗАБАЙКАЛЬСКИЙ МАТКАПИТАЛ НА ВТОРОГО РЕБЁНКА</a:t>
            </a:r>
            <a:endParaRPr lang="ru-RU" sz="1050" b="1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6721011" y="3397939"/>
            <a:ext cx="2158168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algn="ctr"/>
            <a:r>
              <a:rPr lang="ru-RU" b="1" dirty="0"/>
              <a:t>Кто может получить</a:t>
            </a:r>
            <a:r>
              <a:rPr lang="ru-RU" b="1" dirty="0" smtClean="0"/>
              <a:t>?</a:t>
            </a:r>
            <a:endParaRPr lang="ru-RU" dirty="0" smtClean="0"/>
          </a:p>
          <a:p>
            <a:pPr marL="171450" algn="ctr"/>
            <a:r>
              <a:rPr lang="ru-RU" sz="1000" dirty="0" smtClean="0"/>
              <a:t>Семьи </a:t>
            </a:r>
            <a:r>
              <a:rPr lang="ru-RU" sz="1000" dirty="0"/>
              <a:t>при рождении </a:t>
            </a:r>
            <a:r>
              <a:rPr lang="ru-RU" sz="1000" dirty="0" smtClean="0"/>
              <a:t>второго </a:t>
            </a:r>
            <a:r>
              <a:rPr lang="ru-RU" sz="1000" dirty="0"/>
              <a:t>ребёнка после 2018 </a:t>
            </a:r>
            <a:r>
              <a:rPr lang="ru-RU" sz="1000" dirty="0" smtClean="0"/>
              <a:t>года</a:t>
            </a:r>
            <a:endParaRPr lang="ru-RU" sz="1000" dirty="0"/>
          </a:p>
          <a:p>
            <a:pPr marL="171450" algn="ctr"/>
            <a:endParaRPr lang="ru-RU" sz="900" dirty="0" smtClean="0"/>
          </a:p>
          <a:p>
            <a:pPr marL="171450" algn="ctr"/>
            <a:r>
              <a:rPr lang="ru-RU" b="1" dirty="0" smtClean="0"/>
              <a:t> </a:t>
            </a:r>
            <a:r>
              <a:rPr lang="ru-RU" b="1" dirty="0"/>
              <a:t>Как </a:t>
            </a:r>
            <a:r>
              <a:rPr lang="ru-RU" b="1" dirty="0" smtClean="0"/>
              <a:t>получить?</a:t>
            </a:r>
            <a:endParaRPr lang="ru-RU" dirty="0" smtClean="0"/>
          </a:p>
          <a:p>
            <a:pPr marL="171450" algn="ctr"/>
            <a:r>
              <a:rPr lang="ru-RU" sz="1000" dirty="0" smtClean="0"/>
              <a:t>Оформить можно в МФЦ </a:t>
            </a:r>
            <a:r>
              <a:rPr lang="ru-RU" sz="1000" dirty="0"/>
              <a:t>или в </a:t>
            </a:r>
            <a:r>
              <a:rPr lang="ru-RU" sz="1000" dirty="0" smtClean="0"/>
              <a:t>отделе соцзащиты по месту жительства</a:t>
            </a:r>
            <a:endParaRPr lang="ru-RU" sz="10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1296976" y="1487504"/>
            <a:ext cx="158569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800" b="1" dirty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586 946 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255682" y="3544133"/>
            <a:ext cx="153599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800" b="1" dirty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775 </a:t>
            </a:r>
            <a:r>
              <a:rPr lang="ru-RU" sz="2800" b="1" dirty="0" smtClean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628</a:t>
            </a:r>
            <a:endParaRPr lang="ru-RU" sz="1400" b="1" dirty="0">
              <a:solidFill>
                <a:srgbClr val="002060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1025" y="2075780"/>
            <a:ext cx="142699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00" b="1" dirty="0"/>
              <a:t>на первого ребёнка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4336" y="4070590"/>
            <a:ext cx="142058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00" b="1" dirty="0"/>
              <a:t>на второго ребёнка</a:t>
            </a:r>
          </a:p>
        </p:txBody>
      </p:sp>
      <p:grpSp>
        <p:nvGrpSpPr>
          <p:cNvPr id="40" name="Group 45">
            <a:extLst>
              <a:ext uri="{FF2B5EF4-FFF2-40B4-BE49-F238E27FC236}">
                <a16:creationId xmlns="" xmlns:a16="http://schemas.microsoft.com/office/drawing/2014/main" id="{F1DF1D25-E3DA-5D4F-AFBC-07A397F39861}"/>
              </a:ext>
            </a:extLst>
          </p:cNvPr>
          <p:cNvGrpSpPr/>
          <p:nvPr/>
        </p:nvGrpSpPr>
        <p:grpSpPr>
          <a:xfrm>
            <a:off x="269715" y="724007"/>
            <a:ext cx="403006" cy="535537"/>
            <a:chOff x="634994" y="480009"/>
            <a:chExt cx="914452" cy="1075526"/>
          </a:xfrm>
        </p:grpSpPr>
        <p:pic>
          <p:nvPicPr>
            <p:cNvPr id="41" name="object 3">
              <a:extLst>
                <a:ext uri="{FF2B5EF4-FFF2-40B4-BE49-F238E27FC236}">
                  <a16:creationId xmlns="" xmlns:a16="http://schemas.microsoft.com/office/drawing/2014/main" id="{F380E581-197A-4749-AE4D-D24057C2E559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37218" y="1352696"/>
              <a:ext cx="163266" cy="78676"/>
            </a:xfrm>
            <a:prstGeom prst="rect">
              <a:avLst/>
            </a:prstGeom>
          </p:spPr>
        </p:pic>
        <p:pic>
          <p:nvPicPr>
            <p:cNvPr id="42" name="object 4">
              <a:extLst>
                <a:ext uri="{FF2B5EF4-FFF2-40B4-BE49-F238E27FC236}">
                  <a16:creationId xmlns="" xmlns:a16="http://schemas.microsoft.com/office/drawing/2014/main" id="{4976A38B-ADEE-694B-A409-33A3A8A65F83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22641" y="1353580"/>
              <a:ext cx="341118" cy="89957"/>
            </a:xfrm>
            <a:prstGeom prst="rect">
              <a:avLst/>
            </a:prstGeom>
          </p:spPr>
        </p:pic>
        <p:sp>
          <p:nvSpPr>
            <p:cNvPr id="43" name="object 5">
              <a:extLst>
                <a:ext uri="{FF2B5EF4-FFF2-40B4-BE49-F238E27FC236}">
                  <a16:creationId xmlns="" xmlns:a16="http://schemas.microsoft.com/office/drawing/2014/main" id="{EE08DC63-C15B-4D41-B89D-1CD5929880CB}"/>
                </a:ext>
              </a:extLst>
            </p:cNvPr>
            <p:cNvSpPr/>
            <p:nvPr/>
          </p:nvSpPr>
          <p:spPr>
            <a:xfrm>
              <a:off x="1192096" y="1353577"/>
              <a:ext cx="62230" cy="77470"/>
            </a:xfrm>
            <a:custGeom>
              <a:avLst/>
              <a:gdLst/>
              <a:ahLst/>
              <a:cxnLst/>
              <a:rect l="l" t="t" r="r" b="b"/>
              <a:pathLst>
                <a:path w="62230" h="77469">
                  <a:moveTo>
                    <a:pt x="10883" y="0"/>
                  </a:moveTo>
                  <a:lnTo>
                    <a:pt x="0" y="0"/>
                  </a:lnTo>
                  <a:lnTo>
                    <a:pt x="0" y="76923"/>
                  </a:lnTo>
                  <a:lnTo>
                    <a:pt x="31750" y="76923"/>
                  </a:lnTo>
                  <a:lnTo>
                    <a:pt x="44600" y="75284"/>
                  </a:lnTo>
                  <a:lnTo>
                    <a:pt x="54124" y="70399"/>
                  </a:lnTo>
                  <a:lnTo>
                    <a:pt x="55698" y="68249"/>
                  </a:lnTo>
                  <a:lnTo>
                    <a:pt x="10883" y="68249"/>
                  </a:lnTo>
                  <a:lnTo>
                    <a:pt x="10883" y="35483"/>
                  </a:lnTo>
                  <a:lnTo>
                    <a:pt x="56574" y="35483"/>
                  </a:lnTo>
                  <a:lnTo>
                    <a:pt x="54738" y="32935"/>
                  </a:lnTo>
                  <a:lnTo>
                    <a:pt x="45848" y="28348"/>
                  </a:lnTo>
                  <a:lnTo>
                    <a:pt x="33731" y="26809"/>
                  </a:lnTo>
                  <a:lnTo>
                    <a:pt x="10883" y="26809"/>
                  </a:lnTo>
                  <a:lnTo>
                    <a:pt x="10883" y="0"/>
                  </a:lnTo>
                  <a:close/>
                </a:path>
                <a:path w="62230" h="77469">
                  <a:moveTo>
                    <a:pt x="56574" y="35483"/>
                  </a:moveTo>
                  <a:lnTo>
                    <a:pt x="44170" y="35483"/>
                  </a:lnTo>
                  <a:lnTo>
                    <a:pt x="51079" y="40436"/>
                  </a:lnTo>
                  <a:lnTo>
                    <a:pt x="51079" y="51320"/>
                  </a:lnTo>
                  <a:lnTo>
                    <a:pt x="49782" y="58643"/>
                  </a:lnTo>
                  <a:lnTo>
                    <a:pt x="45972" y="63942"/>
                  </a:lnTo>
                  <a:lnTo>
                    <a:pt x="39769" y="67163"/>
                  </a:lnTo>
                  <a:lnTo>
                    <a:pt x="31292" y="68249"/>
                  </a:lnTo>
                  <a:lnTo>
                    <a:pt x="55698" y="68249"/>
                  </a:lnTo>
                  <a:lnTo>
                    <a:pt x="60042" y="62318"/>
                  </a:lnTo>
                  <a:lnTo>
                    <a:pt x="62077" y="51092"/>
                  </a:lnTo>
                  <a:lnTo>
                    <a:pt x="60211" y="40531"/>
                  </a:lnTo>
                  <a:lnTo>
                    <a:pt x="56574" y="35483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4" name="object 6">
              <a:extLst>
                <a:ext uri="{FF2B5EF4-FFF2-40B4-BE49-F238E27FC236}">
                  <a16:creationId xmlns="" xmlns:a16="http://schemas.microsoft.com/office/drawing/2014/main" id="{8E5EAE0A-62F7-EA4B-82FF-96E0C0747317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274796" y="1353580"/>
              <a:ext cx="66154" cy="76911"/>
            </a:xfrm>
            <a:prstGeom prst="rect">
              <a:avLst/>
            </a:prstGeom>
          </p:spPr>
        </p:pic>
        <p:pic>
          <p:nvPicPr>
            <p:cNvPr id="45" name="object 7">
              <a:extLst>
                <a:ext uri="{FF2B5EF4-FFF2-40B4-BE49-F238E27FC236}">
                  <a16:creationId xmlns="" xmlns:a16="http://schemas.microsoft.com/office/drawing/2014/main" id="{EE4C96C7-DD26-1549-8CB5-D5C26BAAE2C0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369272" y="1353577"/>
              <a:ext cx="85153" cy="76923"/>
            </a:xfrm>
            <a:prstGeom prst="rect">
              <a:avLst/>
            </a:prstGeom>
          </p:spPr>
        </p:pic>
        <p:sp>
          <p:nvSpPr>
            <p:cNvPr id="46" name="object 8">
              <a:extLst>
                <a:ext uri="{FF2B5EF4-FFF2-40B4-BE49-F238E27FC236}">
                  <a16:creationId xmlns="" xmlns:a16="http://schemas.microsoft.com/office/drawing/2014/main" id="{5F7B07DD-51DB-934D-86C2-E256CABE8B24}"/>
                </a:ext>
              </a:extLst>
            </p:cNvPr>
            <p:cNvSpPr/>
            <p:nvPr/>
          </p:nvSpPr>
          <p:spPr>
            <a:xfrm>
              <a:off x="1482771" y="1353580"/>
              <a:ext cx="66675" cy="77470"/>
            </a:xfrm>
            <a:custGeom>
              <a:avLst/>
              <a:gdLst/>
              <a:ahLst/>
              <a:cxnLst/>
              <a:rect l="l" t="t" r="r" b="b"/>
              <a:pathLst>
                <a:path w="66675" h="77469">
                  <a:moveTo>
                    <a:pt x="66471" y="0"/>
                  </a:moveTo>
                  <a:lnTo>
                    <a:pt x="56349" y="0"/>
                  </a:lnTo>
                  <a:lnTo>
                    <a:pt x="10871" y="59334"/>
                  </a:lnTo>
                  <a:lnTo>
                    <a:pt x="10871" y="0"/>
                  </a:lnTo>
                  <a:lnTo>
                    <a:pt x="0" y="0"/>
                  </a:lnTo>
                  <a:lnTo>
                    <a:pt x="0" y="76911"/>
                  </a:lnTo>
                  <a:lnTo>
                    <a:pt x="10096" y="76911"/>
                  </a:lnTo>
                  <a:lnTo>
                    <a:pt x="55689" y="17691"/>
                  </a:lnTo>
                  <a:lnTo>
                    <a:pt x="55689" y="76911"/>
                  </a:lnTo>
                  <a:lnTo>
                    <a:pt x="66471" y="76911"/>
                  </a:lnTo>
                  <a:lnTo>
                    <a:pt x="66471" y="0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7" name="object 9">
              <a:extLst>
                <a:ext uri="{FF2B5EF4-FFF2-40B4-BE49-F238E27FC236}">
                  <a16:creationId xmlns="" xmlns:a16="http://schemas.microsoft.com/office/drawing/2014/main" id="{41B926E7-0E9E-7948-A232-A8C369A1A103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34994" y="1464464"/>
              <a:ext cx="188554" cy="82626"/>
            </a:xfrm>
            <a:prstGeom prst="rect">
              <a:avLst/>
            </a:prstGeom>
          </p:spPr>
        </p:pic>
        <p:pic>
          <p:nvPicPr>
            <p:cNvPr id="48" name="object 10">
              <a:extLst>
                <a:ext uri="{FF2B5EF4-FFF2-40B4-BE49-F238E27FC236}">
                  <a16:creationId xmlns="" xmlns:a16="http://schemas.microsoft.com/office/drawing/2014/main" id="{77C660E2-F6D1-B64E-B2B6-A954CF8BF1BC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45724" y="1467309"/>
              <a:ext cx="164275" cy="88226"/>
            </a:xfrm>
            <a:prstGeom prst="rect">
              <a:avLst/>
            </a:prstGeom>
          </p:spPr>
        </p:pic>
        <p:pic>
          <p:nvPicPr>
            <p:cNvPr id="49" name="object 11">
              <a:extLst>
                <a:ext uri="{FF2B5EF4-FFF2-40B4-BE49-F238E27FC236}">
                  <a16:creationId xmlns="" xmlns:a16="http://schemas.microsoft.com/office/drawing/2014/main" id="{441BF81B-53FE-6A4C-92C5-DB2443010B02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057757" y="1466442"/>
              <a:ext cx="319289" cy="78663"/>
            </a:xfrm>
            <a:prstGeom prst="rect">
              <a:avLst/>
            </a:prstGeom>
          </p:spPr>
        </p:pic>
        <p:pic>
          <p:nvPicPr>
            <p:cNvPr id="50" name="object 12">
              <a:extLst>
                <a:ext uri="{FF2B5EF4-FFF2-40B4-BE49-F238E27FC236}">
                  <a16:creationId xmlns="" xmlns:a16="http://schemas.microsoft.com/office/drawing/2014/main" id="{05F2A8D2-8C9F-ED4D-BA00-8EFEA8234DD8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396605" y="1467312"/>
              <a:ext cx="66471" cy="76911"/>
            </a:xfrm>
            <a:prstGeom prst="rect">
              <a:avLst/>
            </a:prstGeom>
          </p:spPr>
        </p:pic>
        <p:pic>
          <p:nvPicPr>
            <p:cNvPr id="51" name="object 13">
              <a:extLst>
                <a:ext uri="{FF2B5EF4-FFF2-40B4-BE49-F238E27FC236}">
                  <a16:creationId xmlns="" xmlns:a16="http://schemas.microsoft.com/office/drawing/2014/main" id="{2F4B0F69-CDB3-3749-B04E-A38361F498E6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482771" y="1467312"/>
              <a:ext cx="66471" cy="76911"/>
            </a:xfrm>
            <a:prstGeom prst="rect">
              <a:avLst/>
            </a:prstGeom>
          </p:spPr>
        </p:pic>
        <p:sp>
          <p:nvSpPr>
            <p:cNvPr id="52" name="object 14">
              <a:extLst>
                <a:ext uri="{FF2B5EF4-FFF2-40B4-BE49-F238E27FC236}">
                  <a16:creationId xmlns="" xmlns:a16="http://schemas.microsoft.com/office/drawing/2014/main" id="{A3D5E69D-7069-7546-B396-DEF8C7BF7E9E}"/>
                </a:ext>
              </a:extLst>
            </p:cNvPr>
            <p:cNvSpPr/>
            <p:nvPr/>
          </p:nvSpPr>
          <p:spPr>
            <a:xfrm>
              <a:off x="1489430" y="1331849"/>
              <a:ext cx="54610" cy="8255"/>
            </a:xfrm>
            <a:custGeom>
              <a:avLst/>
              <a:gdLst/>
              <a:ahLst/>
              <a:cxnLst/>
              <a:rect l="l" t="t" r="r" b="b"/>
              <a:pathLst>
                <a:path w="54609" h="8255">
                  <a:moveTo>
                    <a:pt x="54533" y="0"/>
                  </a:moveTo>
                  <a:lnTo>
                    <a:pt x="0" y="0"/>
                  </a:lnTo>
                  <a:lnTo>
                    <a:pt x="0" y="8115"/>
                  </a:lnTo>
                  <a:lnTo>
                    <a:pt x="54533" y="8115"/>
                  </a:lnTo>
                  <a:lnTo>
                    <a:pt x="54533" y="0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3" name="object 15">
              <a:extLst>
                <a:ext uri="{FF2B5EF4-FFF2-40B4-BE49-F238E27FC236}">
                  <a16:creationId xmlns="" xmlns:a16="http://schemas.microsoft.com/office/drawing/2014/main" id="{D13C6816-0D33-DC44-B3A3-B8C2B694E054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644093" y="480009"/>
              <a:ext cx="895848" cy="769188"/>
            </a:xfrm>
            <a:prstGeom prst="rect">
              <a:avLst/>
            </a:prstGeom>
          </p:spPr>
        </p:pic>
      </p:grpSp>
      <p:sp>
        <p:nvSpPr>
          <p:cNvPr id="71" name="Прямоугольник 70"/>
          <p:cNvSpPr/>
          <p:nvPr/>
        </p:nvSpPr>
        <p:spPr>
          <a:xfrm>
            <a:off x="4055931" y="4540338"/>
            <a:ext cx="228292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 smtClean="0"/>
              <a:t>(для </a:t>
            </a:r>
            <a:r>
              <a:rPr lang="ru-RU" sz="1000" b="1" dirty="0"/>
              <a:t>детей, </a:t>
            </a:r>
            <a:r>
              <a:rPr lang="ru-RU" sz="1000" b="1" dirty="0" smtClean="0"/>
              <a:t>рожденных </a:t>
            </a:r>
            <a:r>
              <a:rPr lang="ru-RU" sz="1000" b="1" dirty="0"/>
              <a:t>с 2020 </a:t>
            </a:r>
            <a:r>
              <a:rPr lang="ru-RU" sz="1000" b="1" dirty="0" smtClean="0"/>
              <a:t>г. )</a:t>
            </a:r>
            <a:endParaRPr lang="ru-RU" sz="1000" b="1" dirty="0"/>
          </a:p>
        </p:txBody>
      </p:sp>
      <p:sp>
        <p:nvSpPr>
          <p:cNvPr id="72" name="Прямоугольник 71"/>
          <p:cNvSpPr/>
          <p:nvPr/>
        </p:nvSpPr>
        <p:spPr>
          <a:xfrm>
            <a:off x="4078305" y="3821132"/>
            <a:ext cx="226055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00" b="1" dirty="0"/>
              <a:t>(</a:t>
            </a:r>
            <a:r>
              <a:rPr lang="ru-RU" sz="1000" b="1" dirty="0" smtClean="0"/>
              <a:t>для </a:t>
            </a:r>
            <a:r>
              <a:rPr lang="ru-RU" sz="1000" b="1" dirty="0"/>
              <a:t>детей, рожденных </a:t>
            </a:r>
            <a:r>
              <a:rPr lang="ru-RU" sz="1000" b="1" dirty="0" smtClean="0"/>
              <a:t>в </a:t>
            </a:r>
            <a:r>
              <a:rPr lang="ru-RU" sz="1000" b="1" dirty="0"/>
              <a:t>2019 </a:t>
            </a:r>
            <a:r>
              <a:rPr lang="ru-RU" sz="1000" b="1" dirty="0" smtClean="0"/>
              <a:t>г.)</a:t>
            </a:r>
            <a:endParaRPr lang="ru-RU" sz="1000" b="1" dirty="0"/>
          </a:p>
        </p:txBody>
      </p:sp>
      <p:sp>
        <p:nvSpPr>
          <p:cNvPr id="73" name="Прямоугольник 72"/>
          <p:cNvSpPr/>
          <p:nvPr/>
        </p:nvSpPr>
        <p:spPr>
          <a:xfrm>
            <a:off x="4262809" y="4083925"/>
            <a:ext cx="156324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800" b="1" dirty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232 </a:t>
            </a:r>
            <a:r>
              <a:rPr lang="ru-RU" sz="2800" b="1" dirty="0" smtClean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688</a:t>
            </a:r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74" name="Прямоугольник 73"/>
          <p:cNvSpPr/>
          <p:nvPr/>
        </p:nvSpPr>
        <p:spPr>
          <a:xfrm>
            <a:off x="4217620" y="3338655"/>
            <a:ext cx="152477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176 </a:t>
            </a:r>
            <a:r>
              <a:rPr lang="ru-RU" sz="2800" b="1" dirty="0" smtClean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084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4311446" y="950710"/>
            <a:ext cx="3488649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algn="ctr"/>
            <a:r>
              <a:rPr lang="ru-RU" b="1" dirty="0"/>
              <a:t>Кто может </a:t>
            </a:r>
            <a:r>
              <a:rPr lang="ru-RU" b="1" dirty="0" smtClean="0"/>
              <a:t>получить?</a:t>
            </a:r>
          </a:p>
          <a:p>
            <a:pPr marL="171450" algn="ctr"/>
            <a:r>
              <a:rPr lang="ru-RU" sz="1000" dirty="0"/>
              <a:t>Семьи при рождении </a:t>
            </a:r>
            <a:r>
              <a:rPr lang="ru-RU" sz="1000" dirty="0" smtClean="0"/>
              <a:t>первого, второго и последующих детей, если ранее не воспользовались этим правом </a:t>
            </a:r>
            <a:endParaRPr lang="ru-RU" sz="1000" dirty="0"/>
          </a:p>
          <a:p>
            <a:pPr marL="171450" algn="ctr"/>
            <a:endParaRPr lang="ru-RU" sz="900" dirty="0" smtClean="0"/>
          </a:p>
          <a:p>
            <a:pPr algn="ctr"/>
            <a:r>
              <a:rPr lang="ru-RU" b="1" dirty="0" smtClean="0"/>
              <a:t> Как получить?</a:t>
            </a:r>
            <a:endParaRPr lang="ru-RU" dirty="0"/>
          </a:p>
          <a:p>
            <a:pPr marL="171450" algn="ctr"/>
            <a:r>
              <a:rPr lang="ru-RU" sz="1000" dirty="0" smtClean="0"/>
              <a:t>Сертификат оформляется </a:t>
            </a:r>
            <a:r>
              <a:rPr lang="ru-RU" sz="1000" dirty="0"/>
              <a:t>в беззаявительном порядке -  </a:t>
            </a:r>
          </a:p>
          <a:p>
            <a:pPr marL="171450" algn="ctr"/>
            <a:r>
              <a:rPr lang="ru-RU" sz="1000" dirty="0"/>
              <a:t>он направляется в личный кабинет на «</a:t>
            </a:r>
            <a:r>
              <a:rPr lang="ru-RU" sz="1000" dirty="0" err="1"/>
              <a:t>Госуслугах</a:t>
            </a:r>
            <a:r>
              <a:rPr lang="ru-RU" sz="1000" dirty="0"/>
              <a:t>»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72768" y="1413307"/>
            <a:ext cx="461132" cy="643995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47571" y="3425247"/>
            <a:ext cx="447294" cy="624669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64522" y="3427443"/>
            <a:ext cx="448367" cy="636145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735300" y="1581913"/>
            <a:ext cx="304276" cy="408175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687702" y="3666105"/>
            <a:ext cx="304276" cy="408175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676270" y="4140229"/>
            <a:ext cx="304276" cy="408175"/>
          </a:xfrm>
          <a:prstGeom prst="rect">
            <a:avLst/>
          </a:prstGeom>
        </p:spPr>
      </p:pic>
      <p:pic>
        <p:nvPicPr>
          <p:cNvPr id="57" name="Рисунок 56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654082" y="3438347"/>
            <a:ext cx="304276" cy="40817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8777" y="2630282"/>
            <a:ext cx="731753" cy="526689"/>
          </a:xfrm>
          <a:prstGeom prst="rect">
            <a:avLst/>
          </a:prstGeom>
        </p:spPr>
      </p:pic>
      <p:sp>
        <p:nvSpPr>
          <p:cNvPr id="9" name="Стрелка вправо 8"/>
          <p:cNvSpPr/>
          <p:nvPr/>
        </p:nvSpPr>
        <p:spPr>
          <a:xfrm>
            <a:off x="3304596" y="1701989"/>
            <a:ext cx="1040408" cy="8448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люс 15"/>
          <p:cNvSpPr/>
          <p:nvPr/>
        </p:nvSpPr>
        <p:spPr>
          <a:xfrm>
            <a:off x="3249006" y="3517215"/>
            <a:ext cx="610652" cy="598788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0900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Скругленный прямоугольник 54"/>
          <p:cNvSpPr/>
          <p:nvPr/>
        </p:nvSpPr>
        <p:spPr>
          <a:xfrm>
            <a:off x="301355" y="889202"/>
            <a:ext cx="3103469" cy="58695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2"/>
              </a:solidFill>
            </a:endParaRPr>
          </a:p>
        </p:txBody>
      </p:sp>
      <p:sp>
        <p:nvSpPr>
          <p:cNvPr id="71" name="Скругленный прямоугольник 70"/>
          <p:cNvSpPr/>
          <p:nvPr/>
        </p:nvSpPr>
        <p:spPr>
          <a:xfrm>
            <a:off x="6009719" y="889955"/>
            <a:ext cx="2995132" cy="60710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2"/>
              </a:solidFill>
            </a:endParaRPr>
          </a:p>
        </p:txBody>
      </p:sp>
      <p:sp>
        <p:nvSpPr>
          <p:cNvPr id="5" name="object 17"/>
          <p:cNvSpPr txBox="1"/>
          <p:nvPr/>
        </p:nvSpPr>
        <p:spPr>
          <a:xfrm>
            <a:off x="1828870" y="244179"/>
            <a:ext cx="530749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/>
            <a:r>
              <a:rPr lang="ru-RU" sz="1600" b="1" dirty="0" smtClean="0">
                <a:solidFill>
                  <a:srgbClr val="92D050"/>
                </a:solidFill>
                <a:cs typeface="Arial" pitchFamily="34" charset="0"/>
              </a:rPr>
              <a:t>ПОСОБИЯ </a:t>
            </a:r>
            <a:r>
              <a:rPr lang="ru-RU" sz="1600" b="1" dirty="0" smtClean="0">
                <a:solidFill>
                  <a:srgbClr val="002060"/>
                </a:solidFill>
                <a:cs typeface="Arial" pitchFamily="34" charset="0"/>
              </a:rPr>
              <a:t>СЕМЬЯМ С ДЕТЬМИ</a:t>
            </a:r>
            <a:endParaRPr lang="ru-RU" sz="1600" b="1" dirty="0">
              <a:solidFill>
                <a:srgbClr val="002060"/>
              </a:solidFill>
              <a:cs typeface="Arial" pitchFamily="34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106744" y="738965"/>
            <a:ext cx="8898107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695099" y="977308"/>
            <a:ext cx="261432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b="1" dirty="0" smtClean="0"/>
              <a:t>ЕДИНОВРЕМЕННОЕ ПОСОБИЕ </a:t>
            </a:r>
          </a:p>
          <a:p>
            <a:pPr algn="ctr"/>
            <a:r>
              <a:rPr lang="ru-RU" sz="1050" b="1" dirty="0" smtClean="0"/>
              <a:t>ПРИ РОЖДЕНИИ РЕБЁНКА</a:t>
            </a:r>
            <a:endParaRPr lang="ru-RU" sz="1050" b="1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866107" y="1518232"/>
            <a:ext cx="192552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22 </a:t>
            </a:r>
            <a:r>
              <a:rPr lang="ru-RU" sz="2800" b="1" dirty="0" smtClean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909,03*</a:t>
            </a:r>
            <a:endParaRPr lang="ru-RU" sz="1600" b="1" dirty="0">
              <a:solidFill>
                <a:srgbClr val="002060"/>
              </a:solidFill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="" xmlns:a16="http://schemas.microsoft.com/office/drawing/2014/main" id="{F1DF1D25-E3DA-5D4F-AFBC-07A397F39861}"/>
              </a:ext>
            </a:extLst>
          </p:cNvPr>
          <p:cNvGrpSpPr/>
          <p:nvPr/>
        </p:nvGrpSpPr>
        <p:grpSpPr>
          <a:xfrm>
            <a:off x="413213" y="932782"/>
            <a:ext cx="433088" cy="499791"/>
            <a:chOff x="634994" y="480009"/>
            <a:chExt cx="914452" cy="1075526"/>
          </a:xfrm>
        </p:grpSpPr>
        <p:pic>
          <p:nvPicPr>
            <p:cNvPr id="47" name="object 3">
              <a:extLst>
                <a:ext uri="{FF2B5EF4-FFF2-40B4-BE49-F238E27FC236}">
                  <a16:creationId xmlns="" xmlns:a16="http://schemas.microsoft.com/office/drawing/2014/main" id="{F380E581-197A-4749-AE4D-D24057C2E559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37218" y="1352696"/>
              <a:ext cx="163266" cy="78676"/>
            </a:xfrm>
            <a:prstGeom prst="rect">
              <a:avLst/>
            </a:prstGeom>
          </p:spPr>
        </p:pic>
        <p:pic>
          <p:nvPicPr>
            <p:cNvPr id="48" name="object 4">
              <a:extLst>
                <a:ext uri="{FF2B5EF4-FFF2-40B4-BE49-F238E27FC236}">
                  <a16:creationId xmlns="" xmlns:a16="http://schemas.microsoft.com/office/drawing/2014/main" id="{4976A38B-ADEE-694B-A409-33A3A8A65F83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22641" y="1353580"/>
              <a:ext cx="341118" cy="89957"/>
            </a:xfrm>
            <a:prstGeom prst="rect">
              <a:avLst/>
            </a:prstGeom>
          </p:spPr>
        </p:pic>
        <p:sp>
          <p:nvSpPr>
            <p:cNvPr id="49" name="object 5">
              <a:extLst>
                <a:ext uri="{FF2B5EF4-FFF2-40B4-BE49-F238E27FC236}">
                  <a16:creationId xmlns="" xmlns:a16="http://schemas.microsoft.com/office/drawing/2014/main" id="{EE08DC63-C15B-4D41-B89D-1CD5929880CB}"/>
                </a:ext>
              </a:extLst>
            </p:cNvPr>
            <p:cNvSpPr/>
            <p:nvPr/>
          </p:nvSpPr>
          <p:spPr>
            <a:xfrm>
              <a:off x="1192096" y="1353577"/>
              <a:ext cx="62230" cy="77470"/>
            </a:xfrm>
            <a:custGeom>
              <a:avLst/>
              <a:gdLst/>
              <a:ahLst/>
              <a:cxnLst/>
              <a:rect l="l" t="t" r="r" b="b"/>
              <a:pathLst>
                <a:path w="62230" h="77469">
                  <a:moveTo>
                    <a:pt x="10883" y="0"/>
                  </a:moveTo>
                  <a:lnTo>
                    <a:pt x="0" y="0"/>
                  </a:lnTo>
                  <a:lnTo>
                    <a:pt x="0" y="76923"/>
                  </a:lnTo>
                  <a:lnTo>
                    <a:pt x="31750" y="76923"/>
                  </a:lnTo>
                  <a:lnTo>
                    <a:pt x="44600" y="75284"/>
                  </a:lnTo>
                  <a:lnTo>
                    <a:pt x="54124" y="70399"/>
                  </a:lnTo>
                  <a:lnTo>
                    <a:pt x="55698" y="68249"/>
                  </a:lnTo>
                  <a:lnTo>
                    <a:pt x="10883" y="68249"/>
                  </a:lnTo>
                  <a:lnTo>
                    <a:pt x="10883" y="35483"/>
                  </a:lnTo>
                  <a:lnTo>
                    <a:pt x="56574" y="35483"/>
                  </a:lnTo>
                  <a:lnTo>
                    <a:pt x="54738" y="32935"/>
                  </a:lnTo>
                  <a:lnTo>
                    <a:pt x="45848" y="28348"/>
                  </a:lnTo>
                  <a:lnTo>
                    <a:pt x="33731" y="26809"/>
                  </a:lnTo>
                  <a:lnTo>
                    <a:pt x="10883" y="26809"/>
                  </a:lnTo>
                  <a:lnTo>
                    <a:pt x="10883" y="0"/>
                  </a:lnTo>
                  <a:close/>
                </a:path>
                <a:path w="62230" h="77469">
                  <a:moveTo>
                    <a:pt x="56574" y="35483"/>
                  </a:moveTo>
                  <a:lnTo>
                    <a:pt x="44170" y="35483"/>
                  </a:lnTo>
                  <a:lnTo>
                    <a:pt x="51079" y="40436"/>
                  </a:lnTo>
                  <a:lnTo>
                    <a:pt x="51079" y="51320"/>
                  </a:lnTo>
                  <a:lnTo>
                    <a:pt x="49782" y="58643"/>
                  </a:lnTo>
                  <a:lnTo>
                    <a:pt x="45972" y="63942"/>
                  </a:lnTo>
                  <a:lnTo>
                    <a:pt x="39769" y="67163"/>
                  </a:lnTo>
                  <a:lnTo>
                    <a:pt x="31292" y="68249"/>
                  </a:lnTo>
                  <a:lnTo>
                    <a:pt x="55698" y="68249"/>
                  </a:lnTo>
                  <a:lnTo>
                    <a:pt x="60042" y="62318"/>
                  </a:lnTo>
                  <a:lnTo>
                    <a:pt x="62077" y="51092"/>
                  </a:lnTo>
                  <a:lnTo>
                    <a:pt x="60211" y="40531"/>
                  </a:lnTo>
                  <a:lnTo>
                    <a:pt x="56574" y="35483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0" name="object 6">
              <a:extLst>
                <a:ext uri="{FF2B5EF4-FFF2-40B4-BE49-F238E27FC236}">
                  <a16:creationId xmlns="" xmlns:a16="http://schemas.microsoft.com/office/drawing/2014/main" id="{8E5EAE0A-62F7-EA4B-82FF-96E0C0747317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274796" y="1353580"/>
              <a:ext cx="66154" cy="76911"/>
            </a:xfrm>
            <a:prstGeom prst="rect">
              <a:avLst/>
            </a:prstGeom>
          </p:spPr>
        </p:pic>
        <p:pic>
          <p:nvPicPr>
            <p:cNvPr id="51" name="object 7">
              <a:extLst>
                <a:ext uri="{FF2B5EF4-FFF2-40B4-BE49-F238E27FC236}">
                  <a16:creationId xmlns="" xmlns:a16="http://schemas.microsoft.com/office/drawing/2014/main" id="{EE4C96C7-DD26-1549-8CB5-D5C26BAAE2C0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369272" y="1353577"/>
              <a:ext cx="85153" cy="76923"/>
            </a:xfrm>
            <a:prstGeom prst="rect">
              <a:avLst/>
            </a:prstGeom>
          </p:spPr>
        </p:pic>
        <p:sp>
          <p:nvSpPr>
            <p:cNvPr id="52" name="object 8">
              <a:extLst>
                <a:ext uri="{FF2B5EF4-FFF2-40B4-BE49-F238E27FC236}">
                  <a16:creationId xmlns="" xmlns:a16="http://schemas.microsoft.com/office/drawing/2014/main" id="{5F7B07DD-51DB-934D-86C2-E256CABE8B24}"/>
                </a:ext>
              </a:extLst>
            </p:cNvPr>
            <p:cNvSpPr/>
            <p:nvPr/>
          </p:nvSpPr>
          <p:spPr>
            <a:xfrm>
              <a:off x="1482771" y="1353580"/>
              <a:ext cx="66675" cy="77470"/>
            </a:xfrm>
            <a:custGeom>
              <a:avLst/>
              <a:gdLst/>
              <a:ahLst/>
              <a:cxnLst/>
              <a:rect l="l" t="t" r="r" b="b"/>
              <a:pathLst>
                <a:path w="66675" h="77469">
                  <a:moveTo>
                    <a:pt x="66471" y="0"/>
                  </a:moveTo>
                  <a:lnTo>
                    <a:pt x="56349" y="0"/>
                  </a:lnTo>
                  <a:lnTo>
                    <a:pt x="10871" y="59334"/>
                  </a:lnTo>
                  <a:lnTo>
                    <a:pt x="10871" y="0"/>
                  </a:lnTo>
                  <a:lnTo>
                    <a:pt x="0" y="0"/>
                  </a:lnTo>
                  <a:lnTo>
                    <a:pt x="0" y="76911"/>
                  </a:lnTo>
                  <a:lnTo>
                    <a:pt x="10096" y="76911"/>
                  </a:lnTo>
                  <a:lnTo>
                    <a:pt x="55689" y="17691"/>
                  </a:lnTo>
                  <a:lnTo>
                    <a:pt x="55689" y="76911"/>
                  </a:lnTo>
                  <a:lnTo>
                    <a:pt x="66471" y="76911"/>
                  </a:lnTo>
                  <a:lnTo>
                    <a:pt x="66471" y="0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3" name="object 9">
              <a:extLst>
                <a:ext uri="{FF2B5EF4-FFF2-40B4-BE49-F238E27FC236}">
                  <a16:creationId xmlns="" xmlns:a16="http://schemas.microsoft.com/office/drawing/2014/main" id="{41B926E7-0E9E-7948-A232-A8C369A1A103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34994" y="1464464"/>
              <a:ext cx="188554" cy="82626"/>
            </a:xfrm>
            <a:prstGeom prst="rect">
              <a:avLst/>
            </a:prstGeom>
          </p:spPr>
        </p:pic>
        <p:pic>
          <p:nvPicPr>
            <p:cNvPr id="57" name="object 10">
              <a:extLst>
                <a:ext uri="{FF2B5EF4-FFF2-40B4-BE49-F238E27FC236}">
                  <a16:creationId xmlns="" xmlns:a16="http://schemas.microsoft.com/office/drawing/2014/main" id="{77C660E2-F6D1-B64E-B2B6-A954CF8BF1BC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45724" y="1467309"/>
              <a:ext cx="164275" cy="88226"/>
            </a:xfrm>
            <a:prstGeom prst="rect">
              <a:avLst/>
            </a:prstGeom>
          </p:spPr>
        </p:pic>
        <p:pic>
          <p:nvPicPr>
            <p:cNvPr id="58" name="object 11">
              <a:extLst>
                <a:ext uri="{FF2B5EF4-FFF2-40B4-BE49-F238E27FC236}">
                  <a16:creationId xmlns="" xmlns:a16="http://schemas.microsoft.com/office/drawing/2014/main" id="{441BF81B-53FE-6A4C-92C5-DB2443010B02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057757" y="1466442"/>
              <a:ext cx="319289" cy="78663"/>
            </a:xfrm>
            <a:prstGeom prst="rect">
              <a:avLst/>
            </a:prstGeom>
          </p:spPr>
        </p:pic>
        <p:pic>
          <p:nvPicPr>
            <p:cNvPr id="59" name="object 12">
              <a:extLst>
                <a:ext uri="{FF2B5EF4-FFF2-40B4-BE49-F238E27FC236}">
                  <a16:creationId xmlns="" xmlns:a16="http://schemas.microsoft.com/office/drawing/2014/main" id="{05F2A8D2-8C9F-ED4D-BA00-8EFEA8234DD8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396605" y="1467312"/>
              <a:ext cx="66471" cy="76911"/>
            </a:xfrm>
            <a:prstGeom prst="rect">
              <a:avLst/>
            </a:prstGeom>
          </p:spPr>
        </p:pic>
        <p:pic>
          <p:nvPicPr>
            <p:cNvPr id="60" name="object 13">
              <a:extLst>
                <a:ext uri="{FF2B5EF4-FFF2-40B4-BE49-F238E27FC236}">
                  <a16:creationId xmlns="" xmlns:a16="http://schemas.microsoft.com/office/drawing/2014/main" id="{2F4B0F69-CDB3-3749-B04E-A38361F498E6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482771" y="1467312"/>
              <a:ext cx="66471" cy="76911"/>
            </a:xfrm>
            <a:prstGeom prst="rect">
              <a:avLst/>
            </a:prstGeom>
          </p:spPr>
        </p:pic>
        <p:sp>
          <p:nvSpPr>
            <p:cNvPr id="61" name="object 14">
              <a:extLst>
                <a:ext uri="{FF2B5EF4-FFF2-40B4-BE49-F238E27FC236}">
                  <a16:creationId xmlns="" xmlns:a16="http://schemas.microsoft.com/office/drawing/2014/main" id="{A3D5E69D-7069-7546-B396-DEF8C7BF7E9E}"/>
                </a:ext>
              </a:extLst>
            </p:cNvPr>
            <p:cNvSpPr/>
            <p:nvPr/>
          </p:nvSpPr>
          <p:spPr>
            <a:xfrm>
              <a:off x="1489430" y="1331849"/>
              <a:ext cx="54610" cy="8255"/>
            </a:xfrm>
            <a:custGeom>
              <a:avLst/>
              <a:gdLst/>
              <a:ahLst/>
              <a:cxnLst/>
              <a:rect l="l" t="t" r="r" b="b"/>
              <a:pathLst>
                <a:path w="54609" h="8255">
                  <a:moveTo>
                    <a:pt x="54533" y="0"/>
                  </a:moveTo>
                  <a:lnTo>
                    <a:pt x="0" y="0"/>
                  </a:lnTo>
                  <a:lnTo>
                    <a:pt x="0" y="8115"/>
                  </a:lnTo>
                  <a:lnTo>
                    <a:pt x="54533" y="8115"/>
                  </a:lnTo>
                  <a:lnTo>
                    <a:pt x="54533" y="0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2" name="object 15">
              <a:extLst>
                <a:ext uri="{FF2B5EF4-FFF2-40B4-BE49-F238E27FC236}">
                  <a16:creationId xmlns="" xmlns:a16="http://schemas.microsoft.com/office/drawing/2014/main" id="{D13C6816-0D33-DC44-B3A3-B8C2B694E054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644093" y="480009"/>
              <a:ext cx="895848" cy="769188"/>
            </a:xfrm>
            <a:prstGeom prst="rect">
              <a:avLst/>
            </a:prstGeom>
          </p:spPr>
        </p:pic>
      </p:grpSp>
      <p:sp>
        <p:nvSpPr>
          <p:cNvPr id="29" name="Прямоугольник 28"/>
          <p:cNvSpPr/>
          <p:nvPr/>
        </p:nvSpPr>
        <p:spPr>
          <a:xfrm>
            <a:off x="-113120" y="2219506"/>
            <a:ext cx="4039940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algn="ctr"/>
            <a:r>
              <a:rPr lang="ru-RU" b="1" dirty="0"/>
              <a:t>Кто может получить</a:t>
            </a:r>
            <a:r>
              <a:rPr lang="ru-RU" b="1" dirty="0" smtClean="0"/>
              <a:t>?</a:t>
            </a:r>
          </a:p>
          <a:p>
            <a:pPr marL="171450" algn="ctr"/>
            <a:r>
              <a:rPr lang="ru-RU" sz="1000" dirty="0"/>
              <a:t>Семьи при рождении детей</a:t>
            </a:r>
          </a:p>
          <a:p>
            <a:pPr marL="171450" algn="ctr"/>
            <a:endParaRPr lang="ru-RU" altLang="ru-RU" b="1" dirty="0"/>
          </a:p>
          <a:p>
            <a:pPr marL="171450" algn="ctr"/>
            <a:r>
              <a:rPr lang="ru-RU" altLang="ru-RU" b="1" dirty="0" smtClean="0"/>
              <a:t>Условия получения?</a:t>
            </a:r>
            <a:endParaRPr lang="ru-RU" altLang="ru-RU" b="1" dirty="0"/>
          </a:p>
          <a:p>
            <a:pPr marL="171450" algn="ctr"/>
            <a:r>
              <a:rPr lang="ru-RU" sz="1000" dirty="0" smtClean="0"/>
              <a:t>Оба родителя не </a:t>
            </a:r>
            <a:r>
              <a:rPr lang="ru-RU" sz="1000" dirty="0"/>
              <a:t>работают </a:t>
            </a:r>
            <a:r>
              <a:rPr lang="ru-RU" sz="1000" dirty="0" smtClean="0"/>
              <a:t>- пособие </a:t>
            </a:r>
            <a:r>
              <a:rPr lang="ru-RU" sz="1000" dirty="0"/>
              <a:t>предоставляется СФР. Для работающих родителей - по месту  работы.</a:t>
            </a:r>
          </a:p>
          <a:p>
            <a:pPr marL="171450" algn="ctr"/>
            <a:r>
              <a:rPr lang="ru-RU" sz="1000" dirty="0"/>
              <a:t>Обратиться не позднее 6 мес. со дня рождения</a:t>
            </a:r>
          </a:p>
          <a:p>
            <a:pPr marL="171450" algn="ctr"/>
            <a:endParaRPr lang="ru-RU" dirty="0" smtClean="0"/>
          </a:p>
          <a:p>
            <a:pPr marL="171450" algn="ctr"/>
            <a:r>
              <a:rPr lang="ru-RU" b="1" dirty="0"/>
              <a:t>Как </a:t>
            </a:r>
            <a:r>
              <a:rPr lang="ru-RU" b="1" dirty="0" smtClean="0"/>
              <a:t>получить?</a:t>
            </a:r>
            <a:endParaRPr lang="ru-RU" dirty="0" smtClean="0"/>
          </a:p>
          <a:p>
            <a:pPr marL="171450" algn="ctr"/>
            <a:r>
              <a:rPr lang="ru-RU" sz="1000" dirty="0"/>
              <a:t>Обратиться в </a:t>
            </a:r>
            <a:r>
              <a:rPr lang="ru-RU" sz="1000" dirty="0" smtClean="0"/>
              <a:t>МФЦ, </a:t>
            </a:r>
            <a:r>
              <a:rPr lang="ru-RU" sz="1000" dirty="0" err="1" smtClean="0"/>
              <a:t>Госуслуги</a:t>
            </a:r>
            <a:r>
              <a:rPr lang="ru-RU" sz="1000" dirty="0" smtClean="0"/>
              <a:t> или СФР</a:t>
            </a:r>
            <a:endParaRPr lang="ru-RU" sz="1000" dirty="0"/>
          </a:p>
          <a:p>
            <a:pPr marL="171450" algn="ctr"/>
            <a:endParaRPr lang="en-US" b="1" dirty="0"/>
          </a:p>
          <a:p>
            <a:pPr marL="171450" algn="ctr"/>
            <a:r>
              <a:rPr lang="ru-RU" altLang="ru-RU" b="1" dirty="0"/>
              <a:t> </a:t>
            </a:r>
          </a:p>
          <a:p>
            <a:pPr marL="171450" algn="ctr"/>
            <a:endParaRPr lang="en-US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178308" y="4251290"/>
            <a:ext cx="377539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i="1" dirty="0" smtClean="0">
                <a:solidFill>
                  <a:srgbClr val="003BB0"/>
                </a:solidFill>
              </a:rPr>
              <a:t>* </a:t>
            </a:r>
            <a:r>
              <a:rPr lang="ru-RU" sz="1000" i="1" dirty="0" smtClean="0"/>
              <a:t>Размер пособия в Забайкальском крае устанавливается </a:t>
            </a:r>
          </a:p>
          <a:p>
            <a:r>
              <a:rPr lang="ru-RU" sz="1000" i="1" dirty="0" smtClean="0"/>
              <a:t>с учетом районных коэффициентов</a:t>
            </a:r>
            <a:endParaRPr lang="ru-RU" sz="1000" i="1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6459015" y="904968"/>
            <a:ext cx="2459535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/>
              <a:t>ЕДИНОВРЕМЕННАЯ </a:t>
            </a:r>
            <a:r>
              <a:rPr lang="ru-RU" sz="1050" b="1" dirty="0" smtClean="0"/>
              <a:t>ВЫПЛАТА</a:t>
            </a:r>
          </a:p>
          <a:p>
            <a:pPr algn="ctr"/>
            <a:r>
              <a:rPr lang="ru-RU" sz="1050" b="1" dirty="0" smtClean="0"/>
              <a:t> </a:t>
            </a:r>
            <a:r>
              <a:rPr lang="ru-RU" sz="1050" b="1" dirty="0"/>
              <a:t>ПРИ РОЖДЕНИИ </a:t>
            </a:r>
            <a:r>
              <a:rPr lang="ru-RU" sz="1050" b="1" dirty="0" smtClean="0">
                <a:solidFill>
                  <a:srgbClr val="FF0000"/>
                </a:solidFill>
              </a:rPr>
              <a:t>ПЕРВОГО </a:t>
            </a:r>
            <a:r>
              <a:rPr lang="ru-RU" sz="1050" b="1" dirty="0" smtClean="0"/>
              <a:t>РЕБЕНКА</a:t>
            </a:r>
            <a:endParaRPr lang="ru-RU" sz="1050" b="1" dirty="0"/>
          </a:p>
        </p:txBody>
      </p:sp>
      <p:sp>
        <p:nvSpPr>
          <p:cNvPr id="66" name="Прямоугольник 65"/>
          <p:cNvSpPr/>
          <p:nvPr/>
        </p:nvSpPr>
        <p:spPr>
          <a:xfrm>
            <a:off x="6713444" y="1525135"/>
            <a:ext cx="1429544" cy="595027"/>
          </a:xfrm>
          <a:prstGeom prst="rect">
            <a:avLst/>
          </a:prstGeom>
        </p:spPr>
        <p:txBody>
          <a:bodyPr wrap="none" lIns="162553" tIns="81276" rIns="162553" bIns="81276">
            <a:spAutoFit/>
          </a:bodyPr>
          <a:lstStyle/>
          <a:p>
            <a:r>
              <a:rPr lang="ru-RU" sz="2800" b="1" dirty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35 </a:t>
            </a:r>
            <a:r>
              <a:rPr lang="ru-RU" sz="2800" b="1" dirty="0" smtClean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610</a:t>
            </a:r>
            <a:endParaRPr lang="ru-RU" sz="200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9719" y="954182"/>
            <a:ext cx="703725" cy="527380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715565" y="1595428"/>
            <a:ext cx="304276" cy="408175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990850" y="1664455"/>
            <a:ext cx="304276" cy="408175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980582" y="1319090"/>
            <a:ext cx="2029137" cy="3589098"/>
          </a:xfrm>
          <a:prstGeom prst="rect">
            <a:avLst/>
          </a:prstGeom>
        </p:spPr>
      </p:pic>
      <p:sp>
        <p:nvSpPr>
          <p:cNvPr id="15" name="Прямоугольник 14"/>
          <p:cNvSpPr/>
          <p:nvPr/>
        </p:nvSpPr>
        <p:spPr>
          <a:xfrm>
            <a:off x="5915061" y="2588838"/>
            <a:ext cx="3228939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algn="ctr"/>
            <a:r>
              <a:rPr lang="ru-RU" b="1" dirty="0"/>
              <a:t>Кто может </a:t>
            </a:r>
            <a:r>
              <a:rPr lang="ru-RU" b="1" dirty="0" smtClean="0"/>
              <a:t>получить?</a:t>
            </a:r>
            <a:endParaRPr lang="en-US" b="1" dirty="0" smtClean="0"/>
          </a:p>
          <a:p>
            <a:pPr marL="171450" algn="ctr"/>
            <a:r>
              <a:rPr lang="ru-RU" sz="1000" dirty="0"/>
              <a:t>Семьи при рождении первого ребёнка после 2018 года, независимо от доходов</a:t>
            </a:r>
          </a:p>
          <a:p>
            <a:pPr marL="171450" algn="ctr"/>
            <a:endParaRPr lang="ru-RU" dirty="0"/>
          </a:p>
          <a:p>
            <a:pPr marL="171450" algn="ctr"/>
            <a:r>
              <a:rPr lang="ru-RU" altLang="ru-RU" sz="1050" b="1" dirty="0"/>
              <a:t>Условия </a:t>
            </a:r>
            <a:r>
              <a:rPr lang="ru-RU" altLang="ru-RU" sz="1050" b="1" dirty="0" smtClean="0"/>
              <a:t>получения?</a:t>
            </a:r>
          </a:p>
          <a:p>
            <a:pPr marL="171450" algn="ctr"/>
            <a:r>
              <a:rPr lang="ru-RU" sz="1000" dirty="0"/>
              <a:t>Обратиться не позднее 6 мес. со дня рождения ребёнка</a:t>
            </a:r>
          </a:p>
          <a:p>
            <a:pPr marL="171450" algn="ctr"/>
            <a:endParaRPr lang="ru-RU" sz="1050" dirty="0"/>
          </a:p>
          <a:p>
            <a:pPr algn="ctr"/>
            <a:r>
              <a:rPr lang="ru-RU" b="1" dirty="0"/>
              <a:t> Как получить?</a:t>
            </a:r>
            <a:endParaRPr lang="ru-RU" dirty="0"/>
          </a:p>
          <a:p>
            <a:pPr marL="171450" algn="ctr"/>
            <a:r>
              <a:rPr lang="ru-RU" sz="1000" dirty="0"/>
              <a:t>Через </a:t>
            </a:r>
            <a:r>
              <a:rPr lang="ru-RU" sz="1000" dirty="0" err="1"/>
              <a:t>Госуслуги</a:t>
            </a:r>
            <a:r>
              <a:rPr lang="ru-RU" sz="1000" dirty="0"/>
              <a:t>,  МФЦ или в отделе соцзащиты по месту жительства</a:t>
            </a:r>
          </a:p>
        </p:txBody>
      </p:sp>
    </p:spTree>
    <p:extLst>
      <p:ext uri="{BB962C8B-B14F-4D97-AF65-F5344CB8AC3E}">
        <p14:creationId xmlns:p14="http://schemas.microsoft.com/office/powerpoint/2010/main" val="1488971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Рисунок 4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09338" y="1312402"/>
            <a:ext cx="304276" cy="408175"/>
          </a:xfrm>
          <a:prstGeom prst="rect">
            <a:avLst/>
          </a:prstGeom>
        </p:spPr>
      </p:pic>
      <p:sp>
        <p:nvSpPr>
          <p:cNvPr id="25" name="object 17"/>
          <p:cNvSpPr txBox="1"/>
          <p:nvPr/>
        </p:nvSpPr>
        <p:spPr>
          <a:xfrm>
            <a:off x="1002566" y="164393"/>
            <a:ext cx="720005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/>
            <a:r>
              <a:rPr lang="ru-RU" sz="1600" b="1" dirty="0" smtClean="0">
                <a:solidFill>
                  <a:srgbClr val="92D050"/>
                </a:solidFill>
                <a:cs typeface="Arial" pitchFamily="34" charset="0"/>
              </a:rPr>
              <a:t>ЕЖЕМЕСЯЧНЫЕ ВЫПЛАТЫ </a:t>
            </a:r>
            <a:r>
              <a:rPr lang="ru-RU" sz="1600" b="1" dirty="0" smtClean="0">
                <a:solidFill>
                  <a:srgbClr val="002060"/>
                </a:solidFill>
                <a:cs typeface="Arial" pitchFamily="34" charset="0"/>
              </a:rPr>
              <a:t>НА ДЕТЕЙ</a:t>
            </a:r>
            <a:endParaRPr lang="ru-RU" sz="1600" b="1" dirty="0">
              <a:solidFill>
                <a:srgbClr val="002060"/>
              </a:solidFill>
              <a:cs typeface="Arial" pitchFamily="34" charset="0"/>
            </a:endParaRP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>
            <a:off x="5123" y="531092"/>
            <a:ext cx="9138877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Скругленный прямоугольник 51"/>
          <p:cNvSpPr/>
          <p:nvPr/>
        </p:nvSpPr>
        <p:spPr>
          <a:xfrm>
            <a:off x="237111" y="643268"/>
            <a:ext cx="3764593" cy="47983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2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860826" y="659381"/>
            <a:ext cx="2996119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2250" indent="-352250" algn="ctr" defTabSz="1102423">
              <a:defRPr/>
            </a:pPr>
            <a:r>
              <a:rPr lang="ru-RU" sz="1050" b="1" dirty="0" smtClean="0"/>
              <a:t>ЕЖЕМЕСЯЧНОЕ ПОСОБИЕ ПО УХОДУ ЗА РЕБЕНКОМ</a:t>
            </a:r>
            <a:endParaRPr lang="ru-RU" sz="1050" b="1" dirty="0"/>
          </a:p>
        </p:txBody>
      </p:sp>
      <p:sp>
        <p:nvSpPr>
          <p:cNvPr id="69" name="Скругленный прямоугольник 68"/>
          <p:cNvSpPr/>
          <p:nvPr/>
        </p:nvSpPr>
        <p:spPr>
          <a:xfrm>
            <a:off x="5206607" y="657896"/>
            <a:ext cx="3764593" cy="46762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2"/>
              </a:solidFill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5206607" y="678687"/>
            <a:ext cx="450088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2250" indent="-352250" algn="ctr" defTabSz="1102423">
              <a:defRPr/>
            </a:pPr>
            <a:r>
              <a:rPr lang="ru-RU" sz="1050" b="1" dirty="0" smtClean="0"/>
              <a:t>ЕЖЕМЕСЯЧНОЕ ПОСОБИЕ </a:t>
            </a:r>
          </a:p>
          <a:p>
            <a:pPr marL="352250" indent="-352250" algn="ctr" defTabSz="1102423">
              <a:defRPr/>
            </a:pPr>
            <a:r>
              <a:rPr lang="ru-RU" sz="1050" b="1" dirty="0" smtClean="0"/>
              <a:t>НА РЕБЁНКА ВОЕННОСЛУЖАЩЕГО</a:t>
            </a:r>
            <a:endParaRPr lang="ru-RU" sz="1050" b="1" dirty="0"/>
          </a:p>
        </p:txBody>
      </p:sp>
      <p:sp>
        <p:nvSpPr>
          <p:cNvPr id="72" name="Прямоугольник 71"/>
          <p:cNvSpPr/>
          <p:nvPr/>
        </p:nvSpPr>
        <p:spPr>
          <a:xfrm>
            <a:off x="5658751" y="1889795"/>
            <a:ext cx="3234235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algn="ctr"/>
            <a:r>
              <a:rPr lang="ru-RU" sz="1000" b="1" dirty="0" smtClean="0"/>
              <a:t>Кто </a:t>
            </a:r>
            <a:r>
              <a:rPr lang="ru-RU" sz="1000" b="1" dirty="0"/>
              <a:t>может получить</a:t>
            </a:r>
            <a:r>
              <a:rPr lang="ru-RU" sz="1000" b="1" dirty="0" smtClean="0"/>
              <a:t>?</a:t>
            </a:r>
          </a:p>
          <a:p>
            <a:pPr marL="171450" algn="ctr"/>
            <a:r>
              <a:rPr lang="ru-RU" sz="1000" dirty="0"/>
              <a:t>Семьи военнослужащих, проходящих военную службу по призыву или семьи </a:t>
            </a:r>
            <a:r>
              <a:rPr lang="ru-RU" sz="1000" dirty="0" smtClean="0"/>
              <a:t>мобилизованных</a:t>
            </a:r>
          </a:p>
          <a:p>
            <a:pPr marL="171450" algn="ctr"/>
            <a:r>
              <a:rPr lang="ru-RU" sz="1000" dirty="0"/>
              <a:t/>
            </a:r>
            <a:br>
              <a:rPr lang="ru-RU" sz="1000" dirty="0"/>
            </a:br>
            <a:r>
              <a:rPr lang="ru-RU" altLang="ru-RU" sz="1000" b="1" dirty="0"/>
              <a:t>Условия </a:t>
            </a:r>
            <a:r>
              <a:rPr lang="ru-RU" altLang="ru-RU" sz="1000" b="1" dirty="0" smtClean="0"/>
              <a:t>получения?</a:t>
            </a:r>
          </a:p>
          <a:p>
            <a:pPr marL="171450" algn="ctr"/>
            <a:r>
              <a:rPr lang="ru-RU" sz="1000" dirty="0" smtClean="0"/>
              <a:t>Предоставляется на детей в возрасте до 3-х лет.</a:t>
            </a:r>
          </a:p>
          <a:p>
            <a:pPr marL="171450" algn="ctr"/>
            <a:r>
              <a:rPr lang="ru-RU" sz="1000" dirty="0" smtClean="0"/>
              <a:t>Обратиться </a:t>
            </a:r>
            <a:r>
              <a:rPr lang="ru-RU" sz="1000" dirty="0"/>
              <a:t>необходимо </a:t>
            </a:r>
            <a:r>
              <a:rPr lang="ru-RU" sz="1000" dirty="0" smtClean="0"/>
              <a:t>со дня рождение ребенка, но не позднее 6 мес. со </a:t>
            </a:r>
            <a:r>
              <a:rPr lang="ru-RU" sz="1000" dirty="0"/>
              <a:t>дня окончания </a:t>
            </a:r>
            <a:r>
              <a:rPr lang="ru-RU" sz="1000" dirty="0" smtClean="0"/>
              <a:t>военной </a:t>
            </a:r>
            <a:r>
              <a:rPr lang="ru-RU" sz="1000" dirty="0"/>
              <a:t>службы по </a:t>
            </a:r>
            <a:r>
              <a:rPr lang="ru-RU" sz="1000" dirty="0" smtClean="0"/>
              <a:t>призыву</a:t>
            </a:r>
          </a:p>
          <a:p>
            <a:pPr marL="171450" algn="ctr"/>
            <a:endParaRPr lang="ru-RU" sz="1000" dirty="0" smtClean="0"/>
          </a:p>
          <a:p>
            <a:pPr marL="171450" algn="ctr"/>
            <a:r>
              <a:rPr lang="ru-RU" sz="1000" b="1" dirty="0"/>
              <a:t>Как получить</a:t>
            </a:r>
            <a:r>
              <a:rPr lang="ru-RU" sz="1000" b="1" dirty="0" smtClean="0"/>
              <a:t>?</a:t>
            </a:r>
            <a:endParaRPr lang="ru-RU" sz="1000" dirty="0"/>
          </a:p>
          <a:p>
            <a:pPr marL="171450" algn="ctr"/>
            <a:r>
              <a:rPr lang="ru-RU" sz="1000" dirty="0" smtClean="0"/>
              <a:t>Обратиться в МФЦ </a:t>
            </a:r>
            <a:r>
              <a:rPr lang="ru-RU" sz="1000" dirty="0"/>
              <a:t>или в </a:t>
            </a:r>
            <a:r>
              <a:rPr lang="ru-RU" sz="1000" dirty="0" smtClean="0"/>
              <a:t>клиентскую службу СФР</a:t>
            </a:r>
            <a:endParaRPr lang="ru-RU" sz="10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/>
          <a:srcRect b="14828"/>
          <a:stretch/>
        </p:blipFill>
        <p:spPr>
          <a:xfrm>
            <a:off x="3882389" y="2187355"/>
            <a:ext cx="1831669" cy="2863634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771282" y="1196913"/>
            <a:ext cx="315338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16216" fontAlgn="ctr"/>
            <a:r>
              <a:rPr lang="ru-RU" sz="2800" b="1" dirty="0" smtClean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8 591,47*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6126139" y="1196913"/>
            <a:ext cx="192552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800" b="1" dirty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15 </a:t>
            </a:r>
            <a:r>
              <a:rPr lang="ru-RU" sz="2800" b="1" dirty="0" smtClean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548,07*</a:t>
            </a:r>
            <a:endParaRPr lang="ru-RU" sz="2000" b="1" dirty="0">
              <a:solidFill>
                <a:srgbClr val="002060"/>
              </a:solidFill>
            </a:endParaRPr>
          </a:p>
        </p:txBody>
      </p:sp>
      <p:grpSp>
        <p:nvGrpSpPr>
          <p:cNvPr id="23" name="Group 45">
            <a:extLst>
              <a:ext uri="{FF2B5EF4-FFF2-40B4-BE49-F238E27FC236}">
                <a16:creationId xmlns="" xmlns:a16="http://schemas.microsoft.com/office/drawing/2014/main" id="{F1DF1D25-E3DA-5D4F-AFBC-07A397F39861}"/>
              </a:ext>
            </a:extLst>
          </p:cNvPr>
          <p:cNvGrpSpPr/>
          <p:nvPr/>
        </p:nvGrpSpPr>
        <p:grpSpPr>
          <a:xfrm>
            <a:off x="325228" y="643268"/>
            <a:ext cx="390839" cy="479834"/>
            <a:chOff x="634994" y="480009"/>
            <a:chExt cx="914452" cy="1075526"/>
          </a:xfrm>
        </p:grpSpPr>
        <p:pic>
          <p:nvPicPr>
            <p:cNvPr id="24" name="object 3">
              <a:extLst>
                <a:ext uri="{FF2B5EF4-FFF2-40B4-BE49-F238E27FC236}">
                  <a16:creationId xmlns="" xmlns:a16="http://schemas.microsoft.com/office/drawing/2014/main" id="{F380E581-197A-4749-AE4D-D24057C2E559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37218" y="1352696"/>
              <a:ext cx="163266" cy="78676"/>
            </a:xfrm>
            <a:prstGeom prst="rect">
              <a:avLst/>
            </a:prstGeom>
          </p:spPr>
        </p:pic>
        <p:pic>
          <p:nvPicPr>
            <p:cNvPr id="26" name="object 4">
              <a:extLst>
                <a:ext uri="{FF2B5EF4-FFF2-40B4-BE49-F238E27FC236}">
                  <a16:creationId xmlns="" xmlns:a16="http://schemas.microsoft.com/office/drawing/2014/main" id="{4976A38B-ADEE-694B-A409-33A3A8A65F83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22641" y="1353580"/>
              <a:ext cx="341118" cy="89957"/>
            </a:xfrm>
            <a:prstGeom prst="rect">
              <a:avLst/>
            </a:prstGeom>
          </p:spPr>
        </p:pic>
        <p:sp>
          <p:nvSpPr>
            <p:cNvPr id="27" name="object 5">
              <a:extLst>
                <a:ext uri="{FF2B5EF4-FFF2-40B4-BE49-F238E27FC236}">
                  <a16:creationId xmlns="" xmlns:a16="http://schemas.microsoft.com/office/drawing/2014/main" id="{EE08DC63-C15B-4D41-B89D-1CD5929880CB}"/>
                </a:ext>
              </a:extLst>
            </p:cNvPr>
            <p:cNvSpPr/>
            <p:nvPr/>
          </p:nvSpPr>
          <p:spPr>
            <a:xfrm>
              <a:off x="1192096" y="1353577"/>
              <a:ext cx="62230" cy="77470"/>
            </a:xfrm>
            <a:custGeom>
              <a:avLst/>
              <a:gdLst/>
              <a:ahLst/>
              <a:cxnLst/>
              <a:rect l="l" t="t" r="r" b="b"/>
              <a:pathLst>
                <a:path w="62230" h="77469">
                  <a:moveTo>
                    <a:pt x="10883" y="0"/>
                  </a:moveTo>
                  <a:lnTo>
                    <a:pt x="0" y="0"/>
                  </a:lnTo>
                  <a:lnTo>
                    <a:pt x="0" y="76923"/>
                  </a:lnTo>
                  <a:lnTo>
                    <a:pt x="31750" y="76923"/>
                  </a:lnTo>
                  <a:lnTo>
                    <a:pt x="44600" y="75284"/>
                  </a:lnTo>
                  <a:lnTo>
                    <a:pt x="54124" y="70399"/>
                  </a:lnTo>
                  <a:lnTo>
                    <a:pt x="55698" y="68249"/>
                  </a:lnTo>
                  <a:lnTo>
                    <a:pt x="10883" y="68249"/>
                  </a:lnTo>
                  <a:lnTo>
                    <a:pt x="10883" y="35483"/>
                  </a:lnTo>
                  <a:lnTo>
                    <a:pt x="56574" y="35483"/>
                  </a:lnTo>
                  <a:lnTo>
                    <a:pt x="54738" y="32935"/>
                  </a:lnTo>
                  <a:lnTo>
                    <a:pt x="45848" y="28348"/>
                  </a:lnTo>
                  <a:lnTo>
                    <a:pt x="33731" y="26809"/>
                  </a:lnTo>
                  <a:lnTo>
                    <a:pt x="10883" y="26809"/>
                  </a:lnTo>
                  <a:lnTo>
                    <a:pt x="10883" y="0"/>
                  </a:lnTo>
                  <a:close/>
                </a:path>
                <a:path w="62230" h="77469">
                  <a:moveTo>
                    <a:pt x="56574" y="35483"/>
                  </a:moveTo>
                  <a:lnTo>
                    <a:pt x="44170" y="35483"/>
                  </a:lnTo>
                  <a:lnTo>
                    <a:pt x="51079" y="40436"/>
                  </a:lnTo>
                  <a:lnTo>
                    <a:pt x="51079" y="51320"/>
                  </a:lnTo>
                  <a:lnTo>
                    <a:pt x="49782" y="58643"/>
                  </a:lnTo>
                  <a:lnTo>
                    <a:pt x="45972" y="63942"/>
                  </a:lnTo>
                  <a:lnTo>
                    <a:pt x="39769" y="67163"/>
                  </a:lnTo>
                  <a:lnTo>
                    <a:pt x="31292" y="68249"/>
                  </a:lnTo>
                  <a:lnTo>
                    <a:pt x="55698" y="68249"/>
                  </a:lnTo>
                  <a:lnTo>
                    <a:pt x="60042" y="62318"/>
                  </a:lnTo>
                  <a:lnTo>
                    <a:pt x="62077" y="51092"/>
                  </a:lnTo>
                  <a:lnTo>
                    <a:pt x="60211" y="40531"/>
                  </a:lnTo>
                  <a:lnTo>
                    <a:pt x="56574" y="35483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8" name="object 6">
              <a:extLst>
                <a:ext uri="{FF2B5EF4-FFF2-40B4-BE49-F238E27FC236}">
                  <a16:creationId xmlns="" xmlns:a16="http://schemas.microsoft.com/office/drawing/2014/main" id="{8E5EAE0A-62F7-EA4B-82FF-96E0C0747317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274796" y="1353580"/>
              <a:ext cx="66154" cy="76911"/>
            </a:xfrm>
            <a:prstGeom prst="rect">
              <a:avLst/>
            </a:prstGeom>
          </p:spPr>
        </p:pic>
        <p:pic>
          <p:nvPicPr>
            <p:cNvPr id="29" name="object 7">
              <a:extLst>
                <a:ext uri="{FF2B5EF4-FFF2-40B4-BE49-F238E27FC236}">
                  <a16:creationId xmlns="" xmlns:a16="http://schemas.microsoft.com/office/drawing/2014/main" id="{EE4C96C7-DD26-1549-8CB5-D5C26BAAE2C0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369272" y="1353577"/>
              <a:ext cx="85153" cy="76923"/>
            </a:xfrm>
            <a:prstGeom prst="rect">
              <a:avLst/>
            </a:prstGeom>
          </p:spPr>
        </p:pic>
        <p:sp>
          <p:nvSpPr>
            <p:cNvPr id="30" name="object 8">
              <a:extLst>
                <a:ext uri="{FF2B5EF4-FFF2-40B4-BE49-F238E27FC236}">
                  <a16:creationId xmlns="" xmlns:a16="http://schemas.microsoft.com/office/drawing/2014/main" id="{5F7B07DD-51DB-934D-86C2-E256CABE8B24}"/>
                </a:ext>
              </a:extLst>
            </p:cNvPr>
            <p:cNvSpPr/>
            <p:nvPr/>
          </p:nvSpPr>
          <p:spPr>
            <a:xfrm>
              <a:off x="1482771" y="1353580"/>
              <a:ext cx="66675" cy="77470"/>
            </a:xfrm>
            <a:custGeom>
              <a:avLst/>
              <a:gdLst/>
              <a:ahLst/>
              <a:cxnLst/>
              <a:rect l="l" t="t" r="r" b="b"/>
              <a:pathLst>
                <a:path w="66675" h="77469">
                  <a:moveTo>
                    <a:pt x="66471" y="0"/>
                  </a:moveTo>
                  <a:lnTo>
                    <a:pt x="56349" y="0"/>
                  </a:lnTo>
                  <a:lnTo>
                    <a:pt x="10871" y="59334"/>
                  </a:lnTo>
                  <a:lnTo>
                    <a:pt x="10871" y="0"/>
                  </a:lnTo>
                  <a:lnTo>
                    <a:pt x="0" y="0"/>
                  </a:lnTo>
                  <a:lnTo>
                    <a:pt x="0" y="76911"/>
                  </a:lnTo>
                  <a:lnTo>
                    <a:pt x="10096" y="76911"/>
                  </a:lnTo>
                  <a:lnTo>
                    <a:pt x="55689" y="17691"/>
                  </a:lnTo>
                  <a:lnTo>
                    <a:pt x="55689" y="76911"/>
                  </a:lnTo>
                  <a:lnTo>
                    <a:pt x="66471" y="76911"/>
                  </a:lnTo>
                  <a:lnTo>
                    <a:pt x="66471" y="0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1" name="object 9">
              <a:extLst>
                <a:ext uri="{FF2B5EF4-FFF2-40B4-BE49-F238E27FC236}">
                  <a16:creationId xmlns="" xmlns:a16="http://schemas.microsoft.com/office/drawing/2014/main" id="{41B926E7-0E9E-7948-A232-A8C369A1A103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634994" y="1464464"/>
              <a:ext cx="188554" cy="82626"/>
            </a:xfrm>
            <a:prstGeom prst="rect">
              <a:avLst/>
            </a:prstGeom>
          </p:spPr>
        </p:pic>
        <p:pic>
          <p:nvPicPr>
            <p:cNvPr id="32" name="object 10">
              <a:extLst>
                <a:ext uri="{FF2B5EF4-FFF2-40B4-BE49-F238E27FC236}">
                  <a16:creationId xmlns="" xmlns:a16="http://schemas.microsoft.com/office/drawing/2014/main" id="{77C660E2-F6D1-B64E-B2B6-A954CF8BF1BC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845724" y="1467309"/>
              <a:ext cx="164275" cy="88226"/>
            </a:xfrm>
            <a:prstGeom prst="rect">
              <a:avLst/>
            </a:prstGeom>
          </p:spPr>
        </p:pic>
        <p:pic>
          <p:nvPicPr>
            <p:cNvPr id="33" name="object 11">
              <a:extLst>
                <a:ext uri="{FF2B5EF4-FFF2-40B4-BE49-F238E27FC236}">
                  <a16:creationId xmlns="" xmlns:a16="http://schemas.microsoft.com/office/drawing/2014/main" id="{441BF81B-53FE-6A4C-92C5-DB2443010B02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057757" y="1466442"/>
              <a:ext cx="319289" cy="78663"/>
            </a:xfrm>
            <a:prstGeom prst="rect">
              <a:avLst/>
            </a:prstGeom>
          </p:spPr>
        </p:pic>
        <p:pic>
          <p:nvPicPr>
            <p:cNvPr id="34" name="object 12">
              <a:extLst>
                <a:ext uri="{FF2B5EF4-FFF2-40B4-BE49-F238E27FC236}">
                  <a16:creationId xmlns="" xmlns:a16="http://schemas.microsoft.com/office/drawing/2014/main" id="{05F2A8D2-8C9F-ED4D-BA00-8EFEA8234DD8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396605" y="1467312"/>
              <a:ext cx="66471" cy="76911"/>
            </a:xfrm>
            <a:prstGeom prst="rect">
              <a:avLst/>
            </a:prstGeom>
          </p:spPr>
        </p:pic>
        <p:pic>
          <p:nvPicPr>
            <p:cNvPr id="35" name="object 13">
              <a:extLst>
                <a:ext uri="{FF2B5EF4-FFF2-40B4-BE49-F238E27FC236}">
                  <a16:creationId xmlns="" xmlns:a16="http://schemas.microsoft.com/office/drawing/2014/main" id="{2F4B0F69-CDB3-3749-B04E-A38361F498E6}"/>
                </a:ext>
              </a:extLst>
            </p:cNvPr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482771" y="1467312"/>
              <a:ext cx="66471" cy="76911"/>
            </a:xfrm>
            <a:prstGeom prst="rect">
              <a:avLst/>
            </a:prstGeom>
          </p:spPr>
        </p:pic>
        <p:sp>
          <p:nvSpPr>
            <p:cNvPr id="36" name="object 14">
              <a:extLst>
                <a:ext uri="{FF2B5EF4-FFF2-40B4-BE49-F238E27FC236}">
                  <a16:creationId xmlns="" xmlns:a16="http://schemas.microsoft.com/office/drawing/2014/main" id="{A3D5E69D-7069-7546-B396-DEF8C7BF7E9E}"/>
                </a:ext>
              </a:extLst>
            </p:cNvPr>
            <p:cNvSpPr/>
            <p:nvPr/>
          </p:nvSpPr>
          <p:spPr>
            <a:xfrm>
              <a:off x="1489430" y="1331849"/>
              <a:ext cx="54610" cy="8255"/>
            </a:xfrm>
            <a:custGeom>
              <a:avLst/>
              <a:gdLst/>
              <a:ahLst/>
              <a:cxnLst/>
              <a:rect l="l" t="t" r="r" b="b"/>
              <a:pathLst>
                <a:path w="54609" h="8255">
                  <a:moveTo>
                    <a:pt x="54533" y="0"/>
                  </a:moveTo>
                  <a:lnTo>
                    <a:pt x="0" y="0"/>
                  </a:lnTo>
                  <a:lnTo>
                    <a:pt x="0" y="8115"/>
                  </a:lnTo>
                  <a:lnTo>
                    <a:pt x="54533" y="8115"/>
                  </a:lnTo>
                  <a:lnTo>
                    <a:pt x="54533" y="0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7" name="object 15">
              <a:extLst>
                <a:ext uri="{FF2B5EF4-FFF2-40B4-BE49-F238E27FC236}">
                  <a16:creationId xmlns="" xmlns:a16="http://schemas.microsoft.com/office/drawing/2014/main" id="{D13C6816-0D33-DC44-B3A3-B8C2B694E054}"/>
                </a:ext>
              </a:extLst>
            </p:cNvPr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644093" y="480009"/>
              <a:ext cx="895848" cy="769188"/>
            </a:xfrm>
            <a:prstGeom prst="rect">
              <a:avLst/>
            </a:prstGeom>
          </p:spPr>
        </p:pic>
      </p:grpSp>
      <p:sp>
        <p:nvSpPr>
          <p:cNvPr id="40" name="Прямоугольник 39"/>
          <p:cNvSpPr/>
          <p:nvPr/>
        </p:nvSpPr>
        <p:spPr>
          <a:xfrm>
            <a:off x="56802" y="1889795"/>
            <a:ext cx="3478517" cy="19543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algn="ctr"/>
            <a:r>
              <a:rPr lang="ru-RU" sz="1000" b="1" dirty="0"/>
              <a:t>Кто может получить?</a:t>
            </a:r>
          </a:p>
          <a:p>
            <a:pPr marL="171450" algn="ctr"/>
            <a:r>
              <a:rPr lang="ru-RU" sz="1000" dirty="0" smtClean="0"/>
              <a:t>Неработающие граждане, если не оформлено единое пособие</a:t>
            </a:r>
          </a:p>
          <a:p>
            <a:pPr marL="171450" algn="ctr"/>
            <a:r>
              <a:rPr lang="ru-RU" sz="1000" dirty="0"/>
              <a:t>Предоставляется  на детей в возрасте до 1,5 лет</a:t>
            </a:r>
          </a:p>
          <a:p>
            <a:pPr marL="171450" algn="ctr"/>
            <a:endParaRPr lang="ru-RU" altLang="ru-RU" b="1" dirty="0"/>
          </a:p>
          <a:p>
            <a:pPr marL="171450" algn="ctr"/>
            <a:r>
              <a:rPr lang="ru-RU" altLang="ru-RU" sz="1000" b="1" dirty="0"/>
              <a:t>Условия </a:t>
            </a:r>
            <a:r>
              <a:rPr lang="ru-RU" altLang="ru-RU" sz="1000" b="1" dirty="0" smtClean="0"/>
              <a:t>получения?</a:t>
            </a:r>
            <a:endParaRPr lang="ru-RU" altLang="ru-RU" b="1" dirty="0"/>
          </a:p>
          <a:p>
            <a:pPr marL="171450" algn="ctr"/>
            <a:r>
              <a:rPr lang="ru-RU" sz="1000" dirty="0"/>
              <a:t>Обратиться  можно до достижения </a:t>
            </a:r>
            <a:r>
              <a:rPr lang="ru-RU" sz="1000" dirty="0" smtClean="0"/>
              <a:t>ребёнком </a:t>
            </a:r>
            <a:r>
              <a:rPr lang="ru-RU" sz="1000" dirty="0"/>
              <a:t>возраста 2-х </a:t>
            </a:r>
            <a:r>
              <a:rPr lang="ru-RU" sz="1000" dirty="0" smtClean="0"/>
              <a:t>лет</a:t>
            </a:r>
            <a:endParaRPr lang="ru-RU" sz="1000" dirty="0"/>
          </a:p>
          <a:p>
            <a:pPr marL="171450" algn="ctr"/>
            <a:endParaRPr lang="ru-RU" sz="1000" b="1" dirty="0" smtClean="0"/>
          </a:p>
          <a:p>
            <a:pPr marL="171450" algn="ctr"/>
            <a:r>
              <a:rPr lang="ru-RU" sz="1000" b="1" dirty="0" smtClean="0"/>
              <a:t>Как </a:t>
            </a:r>
            <a:r>
              <a:rPr lang="ru-RU" sz="1000" b="1" dirty="0"/>
              <a:t>получить?</a:t>
            </a:r>
          </a:p>
          <a:p>
            <a:pPr marL="171450" algn="ctr"/>
            <a:r>
              <a:rPr lang="ru-RU" sz="1000" dirty="0"/>
              <a:t>Обратиться в МФЦ или клиентскую службу СФР</a:t>
            </a:r>
          </a:p>
          <a:p>
            <a:pPr marL="171450" algn="ctr"/>
            <a:endParaRPr lang="en-US" sz="1000" dirty="0"/>
          </a:p>
        </p:txBody>
      </p:sp>
      <p:pic>
        <p:nvPicPr>
          <p:cNvPr id="73" name="Рисунок 7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98385" y="1295178"/>
            <a:ext cx="304276" cy="408175"/>
          </a:xfrm>
          <a:prstGeom prst="rect">
            <a:avLst/>
          </a:prstGeom>
        </p:spPr>
      </p:pic>
      <p:sp>
        <p:nvSpPr>
          <p:cNvPr id="56" name="TextBox 55"/>
          <p:cNvSpPr txBox="1"/>
          <p:nvPr/>
        </p:nvSpPr>
        <p:spPr>
          <a:xfrm>
            <a:off x="188297" y="4435181"/>
            <a:ext cx="377539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i="1" dirty="0" smtClean="0"/>
              <a:t>* </a:t>
            </a:r>
            <a:r>
              <a:rPr lang="ru-RU" sz="1000" i="1" dirty="0" smtClean="0"/>
              <a:t>Размер пособия в Забайкальском крае устанавливается </a:t>
            </a:r>
          </a:p>
          <a:p>
            <a:r>
              <a:rPr lang="ru-RU" sz="1000" i="1" dirty="0" smtClean="0"/>
              <a:t>с учетом районных коэффициентов</a:t>
            </a:r>
            <a:endParaRPr lang="ru-RU" sz="1000" i="1" dirty="0"/>
          </a:p>
        </p:txBody>
      </p:sp>
      <p:grpSp>
        <p:nvGrpSpPr>
          <p:cNvPr id="59" name="Group 45">
            <a:extLst>
              <a:ext uri="{FF2B5EF4-FFF2-40B4-BE49-F238E27FC236}">
                <a16:creationId xmlns="" xmlns:a16="http://schemas.microsoft.com/office/drawing/2014/main" id="{F1DF1D25-E3DA-5D4F-AFBC-07A397F39861}"/>
              </a:ext>
            </a:extLst>
          </p:cNvPr>
          <p:cNvGrpSpPr/>
          <p:nvPr/>
        </p:nvGrpSpPr>
        <p:grpSpPr>
          <a:xfrm>
            <a:off x="5311032" y="675919"/>
            <a:ext cx="403026" cy="449597"/>
            <a:chOff x="634994" y="480009"/>
            <a:chExt cx="914452" cy="1075526"/>
          </a:xfrm>
        </p:grpSpPr>
        <p:pic>
          <p:nvPicPr>
            <p:cNvPr id="60" name="object 3">
              <a:extLst>
                <a:ext uri="{FF2B5EF4-FFF2-40B4-BE49-F238E27FC236}">
                  <a16:creationId xmlns="" xmlns:a16="http://schemas.microsoft.com/office/drawing/2014/main" id="{F380E581-197A-4749-AE4D-D24057C2E559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37218" y="1352696"/>
              <a:ext cx="163266" cy="78676"/>
            </a:xfrm>
            <a:prstGeom prst="rect">
              <a:avLst/>
            </a:prstGeom>
          </p:spPr>
        </p:pic>
        <p:pic>
          <p:nvPicPr>
            <p:cNvPr id="61" name="object 4">
              <a:extLst>
                <a:ext uri="{FF2B5EF4-FFF2-40B4-BE49-F238E27FC236}">
                  <a16:creationId xmlns="" xmlns:a16="http://schemas.microsoft.com/office/drawing/2014/main" id="{4976A38B-ADEE-694B-A409-33A3A8A65F83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22641" y="1353580"/>
              <a:ext cx="341118" cy="89957"/>
            </a:xfrm>
            <a:prstGeom prst="rect">
              <a:avLst/>
            </a:prstGeom>
          </p:spPr>
        </p:pic>
        <p:sp>
          <p:nvSpPr>
            <p:cNvPr id="62" name="object 5">
              <a:extLst>
                <a:ext uri="{FF2B5EF4-FFF2-40B4-BE49-F238E27FC236}">
                  <a16:creationId xmlns="" xmlns:a16="http://schemas.microsoft.com/office/drawing/2014/main" id="{EE08DC63-C15B-4D41-B89D-1CD5929880CB}"/>
                </a:ext>
              </a:extLst>
            </p:cNvPr>
            <p:cNvSpPr/>
            <p:nvPr/>
          </p:nvSpPr>
          <p:spPr>
            <a:xfrm>
              <a:off x="1192096" y="1353577"/>
              <a:ext cx="62230" cy="77470"/>
            </a:xfrm>
            <a:custGeom>
              <a:avLst/>
              <a:gdLst/>
              <a:ahLst/>
              <a:cxnLst/>
              <a:rect l="l" t="t" r="r" b="b"/>
              <a:pathLst>
                <a:path w="62230" h="77469">
                  <a:moveTo>
                    <a:pt x="10883" y="0"/>
                  </a:moveTo>
                  <a:lnTo>
                    <a:pt x="0" y="0"/>
                  </a:lnTo>
                  <a:lnTo>
                    <a:pt x="0" y="76923"/>
                  </a:lnTo>
                  <a:lnTo>
                    <a:pt x="31750" y="76923"/>
                  </a:lnTo>
                  <a:lnTo>
                    <a:pt x="44600" y="75284"/>
                  </a:lnTo>
                  <a:lnTo>
                    <a:pt x="54124" y="70399"/>
                  </a:lnTo>
                  <a:lnTo>
                    <a:pt x="55698" y="68249"/>
                  </a:lnTo>
                  <a:lnTo>
                    <a:pt x="10883" y="68249"/>
                  </a:lnTo>
                  <a:lnTo>
                    <a:pt x="10883" y="35483"/>
                  </a:lnTo>
                  <a:lnTo>
                    <a:pt x="56574" y="35483"/>
                  </a:lnTo>
                  <a:lnTo>
                    <a:pt x="54738" y="32935"/>
                  </a:lnTo>
                  <a:lnTo>
                    <a:pt x="45848" y="28348"/>
                  </a:lnTo>
                  <a:lnTo>
                    <a:pt x="33731" y="26809"/>
                  </a:lnTo>
                  <a:lnTo>
                    <a:pt x="10883" y="26809"/>
                  </a:lnTo>
                  <a:lnTo>
                    <a:pt x="10883" y="0"/>
                  </a:lnTo>
                  <a:close/>
                </a:path>
                <a:path w="62230" h="77469">
                  <a:moveTo>
                    <a:pt x="56574" y="35483"/>
                  </a:moveTo>
                  <a:lnTo>
                    <a:pt x="44170" y="35483"/>
                  </a:lnTo>
                  <a:lnTo>
                    <a:pt x="51079" y="40436"/>
                  </a:lnTo>
                  <a:lnTo>
                    <a:pt x="51079" y="51320"/>
                  </a:lnTo>
                  <a:lnTo>
                    <a:pt x="49782" y="58643"/>
                  </a:lnTo>
                  <a:lnTo>
                    <a:pt x="45972" y="63942"/>
                  </a:lnTo>
                  <a:lnTo>
                    <a:pt x="39769" y="67163"/>
                  </a:lnTo>
                  <a:lnTo>
                    <a:pt x="31292" y="68249"/>
                  </a:lnTo>
                  <a:lnTo>
                    <a:pt x="55698" y="68249"/>
                  </a:lnTo>
                  <a:lnTo>
                    <a:pt x="60042" y="62318"/>
                  </a:lnTo>
                  <a:lnTo>
                    <a:pt x="62077" y="51092"/>
                  </a:lnTo>
                  <a:lnTo>
                    <a:pt x="60211" y="40531"/>
                  </a:lnTo>
                  <a:lnTo>
                    <a:pt x="56574" y="35483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7" name="object 6">
              <a:extLst>
                <a:ext uri="{FF2B5EF4-FFF2-40B4-BE49-F238E27FC236}">
                  <a16:creationId xmlns="" xmlns:a16="http://schemas.microsoft.com/office/drawing/2014/main" id="{8E5EAE0A-62F7-EA4B-82FF-96E0C0747317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274796" y="1353580"/>
              <a:ext cx="66154" cy="76911"/>
            </a:xfrm>
            <a:prstGeom prst="rect">
              <a:avLst/>
            </a:prstGeom>
          </p:spPr>
        </p:pic>
        <p:pic>
          <p:nvPicPr>
            <p:cNvPr id="71" name="object 7">
              <a:extLst>
                <a:ext uri="{FF2B5EF4-FFF2-40B4-BE49-F238E27FC236}">
                  <a16:creationId xmlns="" xmlns:a16="http://schemas.microsoft.com/office/drawing/2014/main" id="{EE4C96C7-DD26-1549-8CB5-D5C26BAAE2C0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369272" y="1353577"/>
              <a:ext cx="85153" cy="76923"/>
            </a:xfrm>
            <a:prstGeom prst="rect">
              <a:avLst/>
            </a:prstGeom>
          </p:spPr>
        </p:pic>
        <p:sp>
          <p:nvSpPr>
            <p:cNvPr id="74" name="object 8">
              <a:extLst>
                <a:ext uri="{FF2B5EF4-FFF2-40B4-BE49-F238E27FC236}">
                  <a16:creationId xmlns="" xmlns:a16="http://schemas.microsoft.com/office/drawing/2014/main" id="{5F7B07DD-51DB-934D-86C2-E256CABE8B24}"/>
                </a:ext>
              </a:extLst>
            </p:cNvPr>
            <p:cNvSpPr/>
            <p:nvPr/>
          </p:nvSpPr>
          <p:spPr>
            <a:xfrm>
              <a:off x="1482771" y="1353580"/>
              <a:ext cx="66675" cy="77470"/>
            </a:xfrm>
            <a:custGeom>
              <a:avLst/>
              <a:gdLst/>
              <a:ahLst/>
              <a:cxnLst/>
              <a:rect l="l" t="t" r="r" b="b"/>
              <a:pathLst>
                <a:path w="66675" h="77469">
                  <a:moveTo>
                    <a:pt x="66471" y="0"/>
                  </a:moveTo>
                  <a:lnTo>
                    <a:pt x="56349" y="0"/>
                  </a:lnTo>
                  <a:lnTo>
                    <a:pt x="10871" y="59334"/>
                  </a:lnTo>
                  <a:lnTo>
                    <a:pt x="10871" y="0"/>
                  </a:lnTo>
                  <a:lnTo>
                    <a:pt x="0" y="0"/>
                  </a:lnTo>
                  <a:lnTo>
                    <a:pt x="0" y="76911"/>
                  </a:lnTo>
                  <a:lnTo>
                    <a:pt x="10096" y="76911"/>
                  </a:lnTo>
                  <a:lnTo>
                    <a:pt x="55689" y="17691"/>
                  </a:lnTo>
                  <a:lnTo>
                    <a:pt x="55689" y="76911"/>
                  </a:lnTo>
                  <a:lnTo>
                    <a:pt x="66471" y="76911"/>
                  </a:lnTo>
                  <a:lnTo>
                    <a:pt x="66471" y="0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5" name="object 9">
              <a:extLst>
                <a:ext uri="{FF2B5EF4-FFF2-40B4-BE49-F238E27FC236}">
                  <a16:creationId xmlns="" xmlns:a16="http://schemas.microsoft.com/office/drawing/2014/main" id="{41B926E7-0E9E-7948-A232-A8C369A1A103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634994" y="1464464"/>
              <a:ext cx="188554" cy="82626"/>
            </a:xfrm>
            <a:prstGeom prst="rect">
              <a:avLst/>
            </a:prstGeom>
          </p:spPr>
        </p:pic>
        <p:pic>
          <p:nvPicPr>
            <p:cNvPr id="76" name="object 10">
              <a:extLst>
                <a:ext uri="{FF2B5EF4-FFF2-40B4-BE49-F238E27FC236}">
                  <a16:creationId xmlns="" xmlns:a16="http://schemas.microsoft.com/office/drawing/2014/main" id="{77C660E2-F6D1-B64E-B2B6-A954CF8BF1BC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845724" y="1467309"/>
              <a:ext cx="164275" cy="88226"/>
            </a:xfrm>
            <a:prstGeom prst="rect">
              <a:avLst/>
            </a:prstGeom>
          </p:spPr>
        </p:pic>
        <p:pic>
          <p:nvPicPr>
            <p:cNvPr id="77" name="object 11">
              <a:extLst>
                <a:ext uri="{FF2B5EF4-FFF2-40B4-BE49-F238E27FC236}">
                  <a16:creationId xmlns="" xmlns:a16="http://schemas.microsoft.com/office/drawing/2014/main" id="{441BF81B-53FE-6A4C-92C5-DB2443010B02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057757" y="1466442"/>
              <a:ext cx="319289" cy="78663"/>
            </a:xfrm>
            <a:prstGeom prst="rect">
              <a:avLst/>
            </a:prstGeom>
          </p:spPr>
        </p:pic>
        <p:pic>
          <p:nvPicPr>
            <p:cNvPr id="78" name="object 12">
              <a:extLst>
                <a:ext uri="{FF2B5EF4-FFF2-40B4-BE49-F238E27FC236}">
                  <a16:creationId xmlns="" xmlns:a16="http://schemas.microsoft.com/office/drawing/2014/main" id="{05F2A8D2-8C9F-ED4D-BA00-8EFEA8234DD8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396605" y="1467312"/>
              <a:ext cx="66471" cy="76911"/>
            </a:xfrm>
            <a:prstGeom prst="rect">
              <a:avLst/>
            </a:prstGeom>
          </p:spPr>
        </p:pic>
        <p:pic>
          <p:nvPicPr>
            <p:cNvPr id="79" name="object 13">
              <a:extLst>
                <a:ext uri="{FF2B5EF4-FFF2-40B4-BE49-F238E27FC236}">
                  <a16:creationId xmlns="" xmlns:a16="http://schemas.microsoft.com/office/drawing/2014/main" id="{2F4B0F69-CDB3-3749-B04E-A38361F498E6}"/>
                </a:ext>
              </a:extLst>
            </p:cNvPr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482771" y="1467312"/>
              <a:ext cx="66471" cy="76911"/>
            </a:xfrm>
            <a:prstGeom prst="rect">
              <a:avLst/>
            </a:prstGeom>
          </p:spPr>
        </p:pic>
        <p:sp>
          <p:nvSpPr>
            <p:cNvPr id="80" name="object 14">
              <a:extLst>
                <a:ext uri="{FF2B5EF4-FFF2-40B4-BE49-F238E27FC236}">
                  <a16:creationId xmlns="" xmlns:a16="http://schemas.microsoft.com/office/drawing/2014/main" id="{A3D5E69D-7069-7546-B396-DEF8C7BF7E9E}"/>
                </a:ext>
              </a:extLst>
            </p:cNvPr>
            <p:cNvSpPr/>
            <p:nvPr/>
          </p:nvSpPr>
          <p:spPr>
            <a:xfrm>
              <a:off x="1489430" y="1331849"/>
              <a:ext cx="54610" cy="8255"/>
            </a:xfrm>
            <a:custGeom>
              <a:avLst/>
              <a:gdLst/>
              <a:ahLst/>
              <a:cxnLst/>
              <a:rect l="l" t="t" r="r" b="b"/>
              <a:pathLst>
                <a:path w="54609" h="8255">
                  <a:moveTo>
                    <a:pt x="54533" y="0"/>
                  </a:moveTo>
                  <a:lnTo>
                    <a:pt x="0" y="0"/>
                  </a:lnTo>
                  <a:lnTo>
                    <a:pt x="0" y="8115"/>
                  </a:lnTo>
                  <a:lnTo>
                    <a:pt x="54533" y="8115"/>
                  </a:lnTo>
                  <a:lnTo>
                    <a:pt x="54533" y="0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81" name="object 15">
              <a:extLst>
                <a:ext uri="{FF2B5EF4-FFF2-40B4-BE49-F238E27FC236}">
                  <a16:creationId xmlns="" xmlns:a16="http://schemas.microsoft.com/office/drawing/2014/main" id="{D13C6816-0D33-DC44-B3A3-B8C2B694E054}"/>
                </a:ext>
              </a:extLst>
            </p:cNvPr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644093" y="480009"/>
              <a:ext cx="895848" cy="76918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760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Рисунок 4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6910695" y="2745198"/>
            <a:ext cx="2167440" cy="2350909"/>
          </a:xfrm>
          <a:prstGeom prst="rect">
            <a:avLst/>
          </a:prstGeom>
        </p:spPr>
      </p:pic>
      <p:sp>
        <p:nvSpPr>
          <p:cNvPr id="5" name="object 17"/>
          <p:cNvSpPr txBox="1"/>
          <p:nvPr/>
        </p:nvSpPr>
        <p:spPr>
          <a:xfrm>
            <a:off x="2141708" y="190621"/>
            <a:ext cx="530749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/>
            <a:r>
              <a:rPr lang="ru-RU" sz="1600" b="1" dirty="0" smtClean="0">
                <a:solidFill>
                  <a:srgbClr val="92D050"/>
                </a:solidFill>
                <a:cs typeface="Arial" pitchFamily="34" charset="0"/>
              </a:rPr>
              <a:t>ЕДИНОЕ ПОСОБИЕ </a:t>
            </a:r>
            <a:r>
              <a:rPr lang="ru-RU" sz="1600" b="1" dirty="0" smtClean="0">
                <a:solidFill>
                  <a:srgbClr val="002060"/>
                </a:solidFill>
                <a:cs typeface="Arial" pitchFamily="34" charset="0"/>
              </a:rPr>
              <a:t>НА ДЕТЕЙ</a:t>
            </a:r>
            <a:endParaRPr lang="ru-RU" sz="1600" b="1" dirty="0">
              <a:solidFill>
                <a:srgbClr val="002060"/>
              </a:solidFill>
              <a:cs typeface="Arial" pitchFamily="34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160572" y="564983"/>
            <a:ext cx="8898107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9"/>
          <p:cNvSpPr/>
          <p:nvPr/>
        </p:nvSpPr>
        <p:spPr>
          <a:xfrm>
            <a:off x="160572" y="1066463"/>
            <a:ext cx="2219632" cy="830997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algn="just"/>
            <a:r>
              <a:rPr lang="ru-RU" sz="1200" dirty="0">
                <a:solidFill>
                  <a:schemeClr val="tx1"/>
                </a:solidFill>
              </a:rPr>
              <a:t>Ежемесячная выплата в связи с рождением </a:t>
            </a:r>
            <a:r>
              <a:rPr lang="ru-RU" sz="1200" dirty="0" smtClean="0">
                <a:solidFill>
                  <a:schemeClr val="tx1"/>
                </a:solidFill>
              </a:rPr>
              <a:t>1-го </a:t>
            </a:r>
            <a:r>
              <a:rPr lang="ru-RU" sz="1200" dirty="0">
                <a:solidFill>
                  <a:schemeClr val="tx1"/>
                </a:solidFill>
              </a:rPr>
              <a:t>и 2-го ребёнка до достижения им возраста 3 лет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2580284" y="1076553"/>
            <a:ext cx="2155726" cy="830997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algn="ctr"/>
            <a:r>
              <a:rPr lang="ru-RU" sz="1200" dirty="0">
                <a:solidFill>
                  <a:schemeClr val="tx1"/>
                </a:solidFill>
              </a:rPr>
              <a:t>Ежемесячная выплата при рождении 3-го ребёнка или последующих детей до достижения возраста 3 лет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4935473" y="1066463"/>
            <a:ext cx="1828800" cy="815608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Ежемесячная выплата на ребенка в возрасте                  от 3 до 7 лет</a:t>
            </a:r>
          </a:p>
          <a:p>
            <a:pPr lvl="0" algn="ctr"/>
            <a:endParaRPr lang="ru-RU" spc="-5" dirty="0" smtClean="0">
              <a:latin typeface="Montserrat"/>
              <a:cs typeface="Montserrat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961848" y="1066171"/>
            <a:ext cx="1934456" cy="830997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algn="ctr"/>
            <a:r>
              <a:rPr lang="ru-RU" sz="1200" dirty="0">
                <a:solidFill>
                  <a:schemeClr val="tx1"/>
                </a:solidFill>
              </a:rPr>
              <a:t>Ежемесячная выплата на ребенка в возрасте                      от 8 до 17 лет</a:t>
            </a:r>
          </a:p>
          <a:p>
            <a:pPr lvl="0" algn="ctr"/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1350130" y="2235433"/>
            <a:ext cx="158569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16216" fontAlgn="b"/>
            <a:r>
              <a:rPr lang="ru-RU" sz="2800" b="1" dirty="0" smtClean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8 902,50</a:t>
            </a:r>
            <a:endParaRPr lang="ru-RU" sz="2800" b="1" dirty="0">
              <a:solidFill>
                <a:srgbClr val="01209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3511484" y="2255199"/>
            <a:ext cx="1786066" cy="8925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16216" fontAlgn="b"/>
            <a:r>
              <a:rPr lang="ru-RU" sz="2800" b="1" dirty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13 </a:t>
            </a:r>
            <a:r>
              <a:rPr lang="ru-RU" sz="2800" b="1" dirty="0" smtClean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353,75</a:t>
            </a:r>
            <a:endParaRPr lang="ru-RU" sz="2800" b="1" dirty="0">
              <a:solidFill>
                <a:srgbClr val="01209D"/>
              </a:solidFill>
              <a:latin typeface="Arial" pitchFamily="34" charset="0"/>
              <a:cs typeface="Arial" pitchFamily="34" charset="0"/>
            </a:endParaRPr>
          </a:p>
          <a:p>
            <a:pPr algn="ctr" defTabSz="816216" fontAlgn="b"/>
            <a:endParaRPr lang="ru-RU" sz="24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6012295" y="2255199"/>
            <a:ext cx="128592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16216" fontAlgn="b"/>
            <a:r>
              <a:rPr lang="ru-RU" sz="2800" b="1" dirty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17 </a:t>
            </a:r>
            <a:r>
              <a:rPr lang="ru-RU" sz="2800" b="1" dirty="0" smtClean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805</a:t>
            </a:r>
            <a:endParaRPr lang="ru-RU" sz="2800" b="1" dirty="0">
              <a:solidFill>
                <a:srgbClr val="01209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2553375" y="2855115"/>
            <a:ext cx="421587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i="1" dirty="0" smtClean="0"/>
              <a:t>50</a:t>
            </a:r>
            <a:r>
              <a:rPr lang="ru-RU" sz="900" i="1" dirty="0" smtClean="0"/>
              <a:t>% 75</a:t>
            </a:r>
            <a:r>
              <a:rPr lang="ru-RU" sz="900" i="1" dirty="0" smtClean="0"/>
              <a:t>% </a:t>
            </a:r>
            <a:r>
              <a:rPr lang="ru-RU" sz="900" i="1" dirty="0" smtClean="0"/>
              <a:t>100</a:t>
            </a:r>
            <a:r>
              <a:rPr lang="ru-RU" sz="900" i="1" dirty="0" smtClean="0"/>
              <a:t>% от </a:t>
            </a:r>
            <a:r>
              <a:rPr lang="ru-RU" sz="900" i="1" dirty="0" smtClean="0"/>
              <a:t>прожиточного минимума</a:t>
            </a:r>
            <a:r>
              <a:rPr lang="ru-RU" sz="900" i="1" dirty="0" smtClean="0"/>
              <a:t> </a:t>
            </a:r>
            <a:r>
              <a:rPr lang="ru-RU" sz="900" i="1" dirty="0" smtClean="0"/>
              <a:t>для </a:t>
            </a:r>
            <a:r>
              <a:rPr lang="ru-RU" sz="900" i="1" dirty="0"/>
              <a:t>детей </a:t>
            </a:r>
          </a:p>
        </p:txBody>
      </p:sp>
      <p:grpSp>
        <p:nvGrpSpPr>
          <p:cNvPr id="51" name="Group 45">
            <a:extLst>
              <a:ext uri="{FF2B5EF4-FFF2-40B4-BE49-F238E27FC236}">
                <a16:creationId xmlns="" xmlns:a16="http://schemas.microsoft.com/office/drawing/2014/main" id="{F1DF1D25-E3DA-5D4F-AFBC-07A397F39861}"/>
              </a:ext>
            </a:extLst>
          </p:cNvPr>
          <p:cNvGrpSpPr/>
          <p:nvPr/>
        </p:nvGrpSpPr>
        <p:grpSpPr>
          <a:xfrm>
            <a:off x="320281" y="119035"/>
            <a:ext cx="345066" cy="390418"/>
            <a:chOff x="634994" y="480009"/>
            <a:chExt cx="914452" cy="1075526"/>
          </a:xfrm>
        </p:grpSpPr>
        <p:pic>
          <p:nvPicPr>
            <p:cNvPr id="52" name="object 3">
              <a:extLst>
                <a:ext uri="{FF2B5EF4-FFF2-40B4-BE49-F238E27FC236}">
                  <a16:creationId xmlns="" xmlns:a16="http://schemas.microsoft.com/office/drawing/2014/main" id="{F380E581-197A-4749-AE4D-D24057C2E559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37218" y="1352696"/>
              <a:ext cx="163266" cy="78676"/>
            </a:xfrm>
            <a:prstGeom prst="rect">
              <a:avLst/>
            </a:prstGeom>
          </p:spPr>
        </p:pic>
        <p:pic>
          <p:nvPicPr>
            <p:cNvPr id="53" name="object 4">
              <a:extLst>
                <a:ext uri="{FF2B5EF4-FFF2-40B4-BE49-F238E27FC236}">
                  <a16:creationId xmlns="" xmlns:a16="http://schemas.microsoft.com/office/drawing/2014/main" id="{4976A38B-ADEE-694B-A409-33A3A8A65F83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22641" y="1353580"/>
              <a:ext cx="341118" cy="89957"/>
            </a:xfrm>
            <a:prstGeom prst="rect">
              <a:avLst/>
            </a:prstGeom>
          </p:spPr>
        </p:pic>
        <p:sp>
          <p:nvSpPr>
            <p:cNvPr id="57" name="object 5">
              <a:extLst>
                <a:ext uri="{FF2B5EF4-FFF2-40B4-BE49-F238E27FC236}">
                  <a16:creationId xmlns="" xmlns:a16="http://schemas.microsoft.com/office/drawing/2014/main" id="{EE08DC63-C15B-4D41-B89D-1CD5929880CB}"/>
                </a:ext>
              </a:extLst>
            </p:cNvPr>
            <p:cNvSpPr/>
            <p:nvPr/>
          </p:nvSpPr>
          <p:spPr>
            <a:xfrm>
              <a:off x="1192096" y="1353577"/>
              <a:ext cx="62230" cy="77470"/>
            </a:xfrm>
            <a:custGeom>
              <a:avLst/>
              <a:gdLst/>
              <a:ahLst/>
              <a:cxnLst/>
              <a:rect l="l" t="t" r="r" b="b"/>
              <a:pathLst>
                <a:path w="62230" h="77469">
                  <a:moveTo>
                    <a:pt x="10883" y="0"/>
                  </a:moveTo>
                  <a:lnTo>
                    <a:pt x="0" y="0"/>
                  </a:lnTo>
                  <a:lnTo>
                    <a:pt x="0" y="76923"/>
                  </a:lnTo>
                  <a:lnTo>
                    <a:pt x="31750" y="76923"/>
                  </a:lnTo>
                  <a:lnTo>
                    <a:pt x="44600" y="75284"/>
                  </a:lnTo>
                  <a:lnTo>
                    <a:pt x="54124" y="70399"/>
                  </a:lnTo>
                  <a:lnTo>
                    <a:pt x="55698" y="68249"/>
                  </a:lnTo>
                  <a:lnTo>
                    <a:pt x="10883" y="68249"/>
                  </a:lnTo>
                  <a:lnTo>
                    <a:pt x="10883" y="35483"/>
                  </a:lnTo>
                  <a:lnTo>
                    <a:pt x="56574" y="35483"/>
                  </a:lnTo>
                  <a:lnTo>
                    <a:pt x="54738" y="32935"/>
                  </a:lnTo>
                  <a:lnTo>
                    <a:pt x="45848" y="28348"/>
                  </a:lnTo>
                  <a:lnTo>
                    <a:pt x="33731" y="26809"/>
                  </a:lnTo>
                  <a:lnTo>
                    <a:pt x="10883" y="26809"/>
                  </a:lnTo>
                  <a:lnTo>
                    <a:pt x="10883" y="0"/>
                  </a:lnTo>
                  <a:close/>
                </a:path>
                <a:path w="62230" h="77469">
                  <a:moveTo>
                    <a:pt x="56574" y="35483"/>
                  </a:moveTo>
                  <a:lnTo>
                    <a:pt x="44170" y="35483"/>
                  </a:lnTo>
                  <a:lnTo>
                    <a:pt x="51079" y="40436"/>
                  </a:lnTo>
                  <a:lnTo>
                    <a:pt x="51079" y="51320"/>
                  </a:lnTo>
                  <a:lnTo>
                    <a:pt x="49782" y="58643"/>
                  </a:lnTo>
                  <a:lnTo>
                    <a:pt x="45972" y="63942"/>
                  </a:lnTo>
                  <a:lnTo>
                    <a:pt x="39769" y="67163"/>
                  </a:lnTo>
                  <a:lnTo>
                    <a:pt x="31292" y="68249"/>
                  </a:lnTo>
                  <a:lnTo>
                    <a:pt x="55698" y="68249"/>
                  </a:lnTo>
                  <a:lnTo>
                    <a:pt x="60042" y="62318"/>
                  </a:lnTo>
                  <a:lnTo>
                    <a:pt x="62077" y="51092"/>
                  </a:lnTo>
                  <a:lnTo>
                    <a:pt x="60211" y="40531"/>
                  </a:lnTo>
                  <a:lnTo>
                    <a:pt x="56574" y="35483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8" name="object 6">
              <a:extLst>
                <a:ext uri="{FF2B5EF4-FFF2-40B4-BE49-F238E27FC236}">
                  <a16:creationId xmlns="" xmlns:a16="http://schemas.microsoft.com/office/drawing/2014/main" id="{8E5EAE0A-62F7-EA4B-82FF-96E0C0747317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274796" y="1353580"/>
              <a:ext cx="66154" cy="76911"/>
            </a:xfrm>
            <a:prstGeom prst="rect">
              <a:avLst/>
            </a:prstGeom>
          </p:spPr>
        </p:pic>
        <p:pic>
          <p:nvPicPr>
            <p:cNvPr id="59" name="object 7">
              <a:extLst>
                <a:ext uri="{FF2B5EF4-FFF2-40B4-BE49-F238E27FC236}">
                  <a16:creationId xmlns="" xmlns:a16="http://schemas.microsoft.com/office/drawing/2014/main" id="{EE4C96C7-DD26-1549-8CB5-D5C26BAAE2C0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369272" y="1353577"/>
              <a:ext cx="85153" cy="76923"/>
            </a:xfrm>
            <a:prstGeom prst="rect">
              <a:avLst/>
            </a:prstGeom>
          </p:spPr>
        </p:pic>
        <p:sp>
          <p:nvSpPr>
            <p:cNvPr id="60" name="object 8">
              <a:extLst>
                <a:ext uri="{FF2B5EF4-FFF2-40B4-BE49-F238E27FC236}">
                  <a16:creationId xmlns="" xmlns:a16="http://schemas.microsoft.com/office/drawing/2014/main" id="{5F7B07DD-51DB-934D-86C2-E256CABE8B24}"/>
                </a:ext>
              </a:extLst>
            </p:cNvPr>
            <p:cNvSpPr/>
            <p:nvPr/>
          </p:nvSpPr>
          <p:spPr>
            <a:xfrm>
              <a:off x="1482771" y="1353580"/>
              <a:ext cx="66675" cy="77470"/>
            </a:xfrm>
            <a:custGeom>
              <a:avLst/>
              <a:gdLst/>
              <a:ahLst/>
              <a:cxnLst/>
              <a:rect l="l" t="t" r="r" b="b"/>
              <a:pathLst>
                <a:path w="66675" h="77469">
                  <a:moveTo>
                    <a:pt x="66471" y="0"/>
                  </a:moveTo>
                  <a:lnTo>
                    <a:pt x="56349" y="0"/>
                  </a:lnTo>
                  <a:lnTo>
                    <a:pt x="10871" y="59334"/>
                  </a:lnTo>
                  <a:lnTo>
                    <a:pt x="10871" y="0"/>
                  </a:lnTo>
                  <a:lnTo>
                    <a:pt x="0" y="0"/>
                  </a:lnTo>
                  <a:lnTo>
                    <a:pt x="0" y="76911"/>
                  </a:lnTo>
                  <a:lnTo>
                    <a:pt x="10096" y="76911"/>
                  </a:lnTo>
                  <a:lnTo>
                    <a:pt x="55689" y="17691"/>
                  </a:lnTo>
                  <a:lnTo>
                    <a:pt x="55689" y="76911"/>
                  </a:lnTo>
                  <a:lnTo>
                    <a:pt x="66471" y="76911"/>
                  </a:lnTo>
                  <a:lnTo>
                    <a:pt x="66471" y="0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1" name="object 9">
              <a:extLst>
                <a:ext uri="{FF2B5EF4-FFF2-40B4-BE49-F238E27FC236}">
                  <a16:creationId xmlns="" xmlns:a16="http://schemas.microsoft.com/office/drawing/2014/main" id="{41B926E7-0E9E-7948-A232-A8C369A1A103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634994" y="1464464"/>
              <a:ext cx="188554" cy="82626"/>
            </a:xfrm>
            <a:prstGeom prst="rect">
              <a:avLst/>
            </a:prstGeom>
          </p:spPr>
        </p:pic>
        <p:pic>
          <p:nvPicPr>
            <p:cNvPr id="62" name="object 10">
              <a:extLst>
                <a:ext uri="{FF2B5EF4-FFF2-40B4-BE49-F238E27FC236}">
                  <a16:creationId xmlns="" xmlns:a16="http://schemas.microsoft.com/office/drawing/2014/main" id="{77C660E2-F6D1-B64E-B2B6-A954CF8BF1BC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845724" y="1467309"/>
              <a:ext cx="164275" cy="88226"/>
            </a:xfrm>
            <a:prstGeom prst="rect">
              <a:avLst/>
            </a:prstGeom>
          </p:spPr>
        </p:pic>
        <p:pic>
          <p:nvPicPr>
            <p:cNvPr id="63" name="object 11">
              <a:extLst>
                <a:ext uri="{FF2B5EF4-FFF2-40B4-BE49-F238E27FC236}">
                  <a16:creationId xmlns="" xmlns:a16="http://schemas.microsoft.com/office/drawing/2014/main" id="{441BF81B-53FE-6A4C-92C5-DB2443010B02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057757" y="1466442"/>
              <a:ext cx="319289" cy="78663"/>
            </a:xfrm>
            <a:prstGeom prst="rect">
              <a:avLst/>
            </a:prstGeom>
          </p:spPr>
        </p:pic>
        <p:pic>
          <p:nvPicPr>
            <p:cNvPr id="64" name="object 12">
              <a:extLst>
                <a:ext uri="{FF2B5EF4-FFF2-40B4-BE49-F238E27FC236}">
                  <a16:creationId xmlns="" xmlns:a16="http://schemas.microsoft.com/office/drawing/2014/main" id="{05F2A8D2-8C9F-ED4D-BA00-8EFEA8234DD8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396605" y="1467312"/>
              <a:ext cx="66471" cy="76911"/>
            </a:xfrm>
            <a:prstGeom prst="rect">
              <a:avLst/>
            </a:prstGeom>
          </p:spPr>
        </p:pic>
        <p:pic>
          <p:nvPicPr>
            <p:cNvPr id="65" name="object 13">
              <a:extLst>
                <a:ext uri="{FF2B5EF4-FFF2-40B4-BE49-F238E27FC236}">
                  <a16:creationId xmlns="" xmlns:a16="http://schemas.microsoft.com/office/drawing/2014/main" id="{2F4B0F69-CDB3-3749-B04E-A38361F498E6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482771" y="1467312"/>
              <a:ext cx="66471" cy="76911"/>
            </a:xfrm>
            <a:prstGeom prst="rect">
              <a:avLst/>
            </a:prstGeom>
          </p:spPr>
        </p:pic>
        <p:sp>
          <p:nvSpPr>
            <p:cNvPr id="66" name="object 14">
              <a:extLst>
                <a:ext uri="{FF2B5EF4-FFF2-40B4-BE49-F238E27FC236}">
                  <a16:creationId xmlns="" xmlns:a16="http://schemas.microsoft.com/office/drawing/2014/main" id="{A3D5E69D-7069-7546-B396-DEF8C7BF7E9E}"/>
                </a:ext>
              </a:extLst>
            </p:cNvPr>
            <p:cNvSpPr/>
            <p:nvPr/>
          </p:nvSpPr>
          <p:spPr>
            <a:xfrm>
              <a:off x="1489430" y="1331849"/>
              <a:ext cx="54610" cy="8255"/>
            </a:xfrm>
            <a:custGeom>
              <a:avLst/>
              <a:gdLst/>
              <a:ahLst/>
              <a:cxnLst/>
              <a:rect l="l" t="t" r="r" b="b"/>
              <a:pathLst>
                <a:path w="54609" h="8255">
                  <a:moveTo>
                    <a:pt x="54533" y="0"/>
                  </a:moveTo>
                  <a:lnTo>
                    <a:pt x="0" y="0"/>
                  </a:lnTo>
                  <a:lnTo>
                    <a:pt x="0" y="8115"/>
                  </a:lnTo>
                  <a:lnTo>
                    <a:pt x="54533" y="8115"/>
                  </a:lnTo>
                  <a:lnTo>
                    <a:pt x="54533" y="0"/>
                  </a:lnTo>
                  <a:close/>
                </a:path>
              </a:pathLst>
            </a:custGeom>
            <a:solidFill>
              <a:srgbClr val="5859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7" name="object 15">
              <a:extLst>
                <a:ext uri="{FF2B5EF4-FFF2-40B4-BE49-F238E27FC236}">
                  <a16:creationId xmlns="" xmlns:a16="http://schemas.microsoft.com/office/drawing/2014/main" id="{D13C6816-0D33-DC44-B3A3-B8C2B694E054}"/>
                </a:ext>
              </a:extLst>
            </p:cNvPr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644093" y="480009"/>
              <a:ext cx="895848" cy="769188"/>
            </a:xfrm>
            <a:prstGeom prst="rect">
              <a:avLst/>
            </a:prstGeom>
          </p:spPr>
        </p:pic>
      </p:grpSp>
      <p:sp>
        <p:nvSpPr>
          <p:cNvPr id="68" name="Прямоугольник 67"/>
          <p:cNvSpPr/>
          <p:nvPr/>
        </p:nvSpPr>
        <p:spPr>
          <a:xfrm>
            <a:off x="-67022" y="3143608"/>
            <a:ext cx="3787208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algn="ctr"/>
            <a:r>
              <a:rPr lang="ru-RU" altLang="ru-RU" sz="1000" b="1" dirty="0"/>
              <a:t>Условия </a:t>
            </a:r>
            <a:r>
              <a:rPr lang="ru-RU" altLang="ru-RU" sz="1000" b="1" dirty="0" smtClean="0"/>
              <a:t>получения?</a:t>
            </a:r>
          </a:p>
          <a:p>
            <a:pPr marL="171450" algn="ctr"/>
            <a:endParaRPr lang="ru-RU" altLang="ru-RU" sz="1000" b="1" dirty="0"/>
          </a:p>
          <a:p>
            <a:pPr marL="171450" algn="ctr"/>
            <a:r>
              <a:rPr lang="ru-RU" sz="1000" dirty="0"/>
              <a:t>Ежемесячный доход на человека в семье не превышает ПМ на душу населения 16 819 руб</a:t>
            </a:r>
            <a:r>
              <a:rPr lang="ru-RU" sz="1000" dirty="0" smtClean="0"/>
              <a:t>.;</a:t>
            </a:r>
          </a:p>
          <a:p>
            <a:pPr marL="171450" algn="ctr"/>
            <a:endParaRPr lang="ru-RU" sz="1000" dirty="0"/>
          </a:p>
          <a:p>
            <a:pPr marL="171450" algn="ctr"/>
            <a:r>
              <a:rPr lang="ru-RU" sz="1000" dirty="0"/>
              <a:t>Имущество семьи отвечает установленным требованиям</a:t>
            </a:r>
            <a:r>
              <a:rPr lang="ru-RU" sz="1000" dirty="0" smtClean="0"/>
              <a:t>;</a:t>
            </a:r>
          </a:p>
          <a:p>
            <a:pPr marL="171450" algn="ctr"/>
            <a:endParaRPr lang="ru-RU" sz="1000" dirty="0"/>
          </a:p>
          <a:p>
            <a:pPr marL="171450" algn="ctr"/>
            <a:r>
              <a:rPr lang="ru-RU" sz="1000" dirty="0"/>
              <a:t>Трудоспособные члены семьи имеют доход от трудовой или иной деятельности или объективные причины его отсутствия.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3343833" y="706877"/>
            <a:ext cx="273664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/>
              <a:t>В состав пособия входят </a:t>
            </a:r>
            <a:r>
              <a:rPr lang="ru-RU" b="1" dirty="0" smtClean="0"/>
              <a:t>выплаты</a:t>
            </a:r>
            <a:r>
              <a:rPr lang="ru-RU" b="1" dirty="0"/>
              <a:t>: </a:t>
            </a:r>
          </a:p>
        </p:txBody>
      </p:sp>
      <p:sp>
        <p:nvSpPr>
          <p:cNvPr id="2" name="Плюс 1"/>
          <p:cNvSpPr/>
          <p:nvPr/>
        </p:nvSpPr>
        <p:spPr>
          <a:xfrm>
            <a:off x="2381541" y="1371253"/>
            <a:ext cx="191691" cy="182885"/>
          </a:xfrm>
          <a:prstGeom prst="mathPlus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люс 33"/>
          <p:cNvSpPr/>
          <p:nvPr/>
        </p:nvSpPr>
        <p:spPr>
          <a:xfrm>
            <a:off x="4739367" y="1376741"/>
            <a:ext cx="191691" cy="182885"/>
          </a:xfrm>
          <a:prstGeom prst="mathPlus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люс 34"/>
          <p:cNvSpPr/>
          <p:nvPr/>
        </p:nvSpPr>
        <p:spPr>
          <a:xfrm>
            <a:off x="6766544" y="1359448"/>
            <a:ext cx="191691" cy="182885"/>
          </a:xfrm>
          <a:prstGeom prst="mathPlus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 35"/>
          <p:cNvSpPr/>
          <p:nvPr/>
        </p:nvSpPr>
        <p:spPr>
          <a:xfrm>
            <a:off x="3531065" y="1951789"/>
            <a:ext cx="226049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/>
              <a:t>Размер </a:t>
            </a:r>
            <a:r>
              <a:rPr lang="ru-RU" b="1" dirty="0" smtClean="0"/>
              <a:t>пособия:</a:t>
            </a:r>
            <a:endParaRPr lang="ru-RU" b="1" dirty="0"/>
          </a:p>
        </p:txBody>
      </p:sp>
      <p:cxnSp>
        <p:nvCxnSpPr>
          <p:cNvPr id="4" name="Прямая со стрелкой 3"/>
          <p:cNvCxnSpPr/>
          <p:nvPr/>
        </p:nvCxnSpPr>
        <p:spPr>
          <a:xfrm>
            <a:off x="1573841" y="2847944"/>
            <a:ext cx="5875362" cy="0"/>
          </a:xfrm>
          <a:prstGeom prst="straightConnector1">
            <a:avLst/>
          </a:prstGeom>
          <a:ln w="9525" cap="flat" cmpd="sng" algn="ctr">
            <a:solidFill>
              <a:schemeClr val="accent4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8" name="Рисунок 7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829228" y="2348193"/>
            <a:ext cx="304276" cy="408175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249097" y="2346394"/>
            <a:ext cx="311513" cy="417883"/>
          </a:xfrm>
          <a:prstGeom prst="rect">
            <a:avLst/>
          </a:prstGeom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260145" y="2363104"/>
            <a:ext cx="298309" cy="400171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3786215" y="3491285"/>
            <a:ext cx="2925763" cy="8771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algn="ctr"/>
            <a:r>
              <a:rPr lang="ru-RU" sz="1000" b="1" dirty="0"/>
              <a:t>Как получить</a:t>
            </a:r>
            <a:r>
              <a:rPr lang="ru-RU" sz="1000" b="1" dirty="0" smtClean="0"/>
              <a:t>?</a:t>
            </a:r>
          </a:p>
          <a:p>
            <a:pPr marL="171450" algn="ctr"/>
            <a:endParaRPr lang="ru-RU" sz="1000" b="1" dirty="0"/>
          </a:p>
          <a:p>
            <a:pPr marL="171450" algn="ctr"/>
            <a:r>
              <a:rPr lang="ru-RU" dirty="0" smtClean="0"/>
              <a:t> </a:t>
            </a:r>
            <a:r>
              <a:rPr lang="ru-RU" sz="1000" dirty="0"/>
              <a:t>Оформить можно через </a:t>
            </a:r>
            <a:r>
              <a:rPr lang="ru-RU" sz="1000" dirty="0" err="1"/>
              <a:t>Госуслуги</a:t>
            </a:r>
            <a:r>
              <a:rPr lang="ru-RU" sz="1000" dirty="0"/>
              <a:t>, МФЦ или в клиентской службе СФР.</a:t>
            </a:r>
          </a:p>
          <a:p>
            <a:pPr marL="171450" algn="ctr"/>
            <a:endParaRPr lang="ru-RU" sz="1000" dirty="0"/>
          </a:p>
        </p:txBody>
      </p:sp>
      <p:pic>
        <p:nvPicPr>
          <p:cNvPr id="54" name="Рисунок 5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268553" y="3388885"/>
            <a:ext cx="485938" cy="450505"/>
          </a:xfrm>
          <a:prstGeom prst="rect">
            <a:avLst/>
          </a:prstGeom>
        </p:spPr>
      </p:pic>
      <p:pic>
        <p:nvPicPr>
          <p:cNvPr id="55" name="Рисунок 54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52728" y="2900321"/>
            <a:ext cx="538234" cy="493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545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7063" y="3371946"/>
            <a:ext cx="1601760" cy="1737345"/>
          </a:xfrm>
          <a:prstGeom prst="rect">
            <a:avLst/>
          </a:prstGeom>
        </p:spPr>
      </p:pic>
      <p:sp>
        <p:nvSpPr>
          <p:cNvPr id="55" name="Скругленный прямоугольник 54"/>
          <p:cNvSpPr/>
          <p:nvPr/>
        </p:nvSpPr>
        <p:spPr>
          <a:xfrm>
            <a:off x="369366" y="870800"/>
            <a:ext cx="2123356" cy="64398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2"/>
              </a:solidFill>
            </a:endParaRPr>
          </a:p>
        </p:txBody>
      </p:sp>
      <p:sp>
        <p:nvSpPr>
          <p:cNvPr id="5" name="object 17"/>
          <p:cNvSpPr txBox="1"/>
          <p:nvPr/>
        </p:nvSpPr>
        <p:spPr>
          <a:xfrm>
            <a:off x="581430" y="165227"/>
            <a:ext cx="839452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/>
            <a:r>
              <a:rPr lang="ru-RU" sz="1600" b="1" dirty="0" smtClean="0">
                <a:solidFill>
                  <a:srgbClr val="002060"/>
                </a:solidFill>
                <a:cs typeface="Arial" pitchFamily="34" charset="0"/>
              </a:rPr>
              <a:t>МЕРЫ ПОДДЕРЖКИ </a:t>
            </a:r>
            <a:r>
              <a:rPr lang="ru-RU" sz="1600" b="1" dirty="0" smtClean="0">
                <a:solidFill>
                  <a:srgbClr val="92D050"/>
                </a:solidFill>
                <a:cs typeface="Arial" pitchFamily="34" charset="0"/>
              </a:rPr>
              <a:t>МНОГОДЕТНЫХ</a:t>
            </a:r>
            <a:r>
              <a:rPr lang="ru-RU" sz="1600" b="1" dirty="0" smtClean="0">
                <a:solidFill>
                  <a:srgbClr val="002060"/>
                </a:solidFill>
                <a:cs typeface="Arial" pitchFamily="34" charset="0"/>
              </a:rPr>
              <a:t> СЕМЕЙ</a:t>
            </a:r>
            <a:endParaRPr lang="ru-RU" sz="1600" b="1" dirty="0">
              <a:solidFill>
                <a:srgbClr val="002060"/>
              </a:solidFill>
              <a:cs typeface="Arial" pitchFamily="34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99475" y="547562"/>
            <a:ext cx="8898107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401950" y="892231"/>
            <a:ext cx="1999423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b="1" dirty="0" smtClean="0"/>
              <a:t>  ЕЖЕМЕСЯЧНАЯ </a:t>
            </a:r>
          </a:p>
          <a:p>
            <a:pPr algn="ctr"/>
            <a:r>
              <a:rPr lang="ru-RU" sz="1050" b="1" dirty="0" smtClean="0"/>
              <a:t>ВЫПЛАТА </a:t>
            </a:r>
            <a:r>
              <a:rPr lang="ru-RU" sz="1050" b="1" dirty="0"/>
              <a:t>МНОГОДЕТНЫМ </a:t>
            </a:r>
          </a:p>
        </p:txBody>
      </p:sp>
      <p:sp>
        <p:nvSpPr>
          <p:cNvPr id="70" name="Скругленный прямоугольник 69"/>
          <p:cNvSpPr/>
          <p:nvPr/>
        </p:nvSpPr>
        <p:spPr>
          <a:xfrm>
            <a:off x="3359285" y="870801"/>
            <a:ext cx="3016685" cy="63700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0000"/>
                </a:solidFill>
              </a:rPr>
              <a:t>ЕЖЕМЕСЯЧНАЯ КОМПЕНСАЦИЯ НА </a:t>
            </a:r>
            <a:r>
              <a:rPr lang="ru-RU" b="1" dirty="0" smtClean="0">
                <a:solidFill>
                  <a:srgbClr val="000000"/>
                </a:solidFill>
              </a:rPr>
              <a:t>ЖИЛИЩНО-КОММУНАЛЬНЫЕ УСЛУГИ</a:t>
            </a:r>
            <a:endParaRPr lang="ru-RU" b="1" dirty="0">
              <a:solidFill>
                <a:srgbClr val="000000"/>
              </a:solidFill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6817201" y="797943"/>
            <a:ext cx="1953621" cy="7228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2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7093565" y="824211"/>
            <a:ext cx="1446348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b="1" dirty="0" smtClean="0"/>
          </a:p>
          <a:p>
            <a:pPr algn="ctr"/>
            <a:r>
              <a:rPr lang="ru-RU" b="1" dirty="0" smtClean="0"/>
              <a:t>ПОГАШЕНИЕ </a:t>
            </a:r>
            <a:r>
              <a:rPr lang="ru-RU" b="1" dirty="0"/>
              <a:t>ИПОТЕК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6818041" y="1671434"/>
            <a:ext cx="185130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450 000 </a:t>
            </a:r>
            <a:endParaRPr lang="ru-RU" sz="1400" b="1" dirty="0">
              <a:solidFill>
                <a:srgbClr val="002060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6752250" y="2436969"/>
            <a:ext cx="2471840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/>
              <a:t>Кто может получить?</a:t>
            </a:r>
          </a:p>
          <a:p>
            <a:pPr marL="171450" algn="ctr"/>
            <a:r>
              <a:rPr lang="ru-RU" sz="1000" dirty="0"/>
              <a:t>Семьи, в которых с 1 </a:t>
            </a:r>
            <a:r>
              <a:rPr lang="ru-RU" sz="1000" dirty="0" smtClean="0"/>
              <a:t>января</a:t>
            </a:r>
          </a:p>
          <a:p>
            <a:pPr marL="171450" algn="ctr"/>
            <a:r>
              <a:rPr lang="ru-RU" sz="1000" dirty="0" smtClean="0"/>
              <a:t> </a:t>
            </a:r>
            <a:r>
              <a:rPr lang="ru-RU" sz="1000" dirty="0"/>
              <a:t>2019 г. появился 3-й или последующий ребёнок</a:t>
            </a:r>
          </a:p>
          <a:p>
            <a:pPr algn="ctr"/>
            <a:endParaRPr lang="ru-RU" sz="900" b="1" dirty="0" smtClean="0"/>
          </a:p>
          <a:p>
            <a:pPr algn="ctr"/>
            <a:endParaRPr lang="ru-RU" sz="900" b="1" dirty="0"/>
          </a:p>
          <a:p>
            <a:pPr algn="ctr"/>
            <a:r>
              <a:rPr lang="ru-RU" b="1" dirty="0"/>
              <a:t>Как получить</a:t>
            </a:r>
            <a:r>
              <a:rPr lang="ru-RU" b="1" dirty="0" smtClean="0"/>
              <a:t>?</a:t>
            </a:r>
            <a:endParaRPr lang="ru-RU" sz="900" dirty="0" smtClean="0"/>
          </a:p>
          <a:p>
            <a:pPr marL="171450" algn="ctr"/>
            <a:r>
              <a:rPr lang="ru-RU" sz="1000" dirty="0" smtClean="0"/>
              <a:t>Обратиться в </a:t>
            </a:r>
            <a:r>
              <a:rPr lang="ru-RU" sz="1000" dirty="0"/>
              <a:t>банк, где брали ипотечный кредит</a:t>
            </a:r>
          </a:p>
          <a:p>
            <a:pPr marL="171450" algn="ctr"/>
            <a:endParaRPr lang="ru-RU" sz="1000" dirty="0"/>
          </a:p>
          <a:p>
            <a:pPr marL="171450" algn="ctr"/>
            <a:r>
              <a:rPr lang="ru-RU" sz="1000" dirty="0"/>
              <a:t>Оператор программы - ДОМ.РФ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770113" y="1625504"/>
            <a:ext cx="170661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 smtClean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543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4288944" y="1655205"/>
            <a:ext cx="97949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rgbClr val="01209D"/>
                </a:solidFill>
                <a:latin typeface="Arial" pitchFamily="34" charset="0"/>
                <a:cs typeface="Arial" pitchFamily="34" charset="0"/>
              </a:rPr>
              <a:t>30%</a:t>
            </a: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101" y="46566"/>
            <a:ext cx="701658" cy="525830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-212072" y="2411706"/>
            <a:ext cx="3077677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algn="ctr"/>
            <a:r>
              <a:rPr lang="ru-RU" b="1" dirty="0"/>
              <a:t>Кто может </a:t>
            </a:r>
            <a:r>
              <a:rPr lang="ru-RU" b="1" dirty="0" smtClean="0"/>
              <a:t>получить?</a:t>
            </a:r>
          </a:p>
          <a:p>
            <a:pPr marL="171450" algn="ctr"/>
            <a:r>
              <a:rPr lang="ru-RU" sz="1000" dirty="0"/>
              <a:t>Многодетные семьи, на ребёнка </a:t>
            </a:r>
            <a:r>
              <a:rPr lang="ru-RU" sz="1000" dirty="0" smtClean="0"/>
              <a:t>начиная</a:t>
            </a:r>
          </a:p>
          <a:p>
            <a:pPr marL="171450" algn="ctr"/>
            <a:r>
              <a:rPr lang="ru-RU" sz="1000" dirty="0" smtClean="0"/>
              <a:t> </a:t>
            </a:r>
            <a:r>
              <a:rPr lang="ru-RU" sz="1000" dirty="0"/>
              <a:t>с 3-го и до достижения им 18 лет </a:t>
            </a:r>
            <a:r>
              <a:rPr lang="ru-RU" sz="1000" dirty="0" smtClean="0"/>
              <a:t>(</a:t>
            </a:r>
            <a:r>
              <a:rPr lang="ru-RU" sz="1000" dirty="0"/>
              <a:t>если обучается то до 23 лет)</a:t>
            </a:r>
            <a:endParaRPr lang="ru-RU" altLang="ru-RU" sz="1000" dirty="0"/>
          </a:p>
          <a:p>
            <a:pPr marL="171450" algn="ctr"/>
            <a:endParaRPr lang="ru-RU" altLang="ru-RU" b="1" dirty="0"/>
          </a:p>
          <a:p>
            <a:pPr marL="171450" algn="ctr"/>
            <a:r>
              <a:rPr lang="ru-RU" altLang="ru-RU" b="1" dirty="0"/>
              <a:t>Условия </a:t>
            </a:r>
            <a:r>
              <a:rPr lang="ru-RU" altLang="ru-RU" b="1" dirty="0" smtClean="0"/>
              <a:t>получения?</a:t>
            </a:r>
          </a:p>
          <a:p>
            <a:pPr marL="171450" algn="ctr"/>
            <a:r>
              <a:rPr lang="ru-RU" sz="1000" dirty="0"/>
              <a:t>Среднедушевой доход семьи </a:t>
            </a:r>
            <a:r>
              <a:rPr lang="ru-RU" sz="1000" dirty="0" smtClean="0"/>
              <a:t>ниже</a:t>
            </a:r>
          </a:p>
          <a:p>
            <a:pPr marL="171450" algn="ctr"/>
            <a:r>
              <a:rPr lang="ru-RU" sz="1000" dirty="0" smtClean="0"/>
              <a:t> </a:t>
            </a:r>
            <a:r>
              <a:rPr lang="ru-RU" sz="1000" dirty="0"/>
              <a:t>ПМ 16 819 руб.</a:t>
            </a:r>
          </a:p>
          <a:p>
            <a:pPr marL="171450" algn="ctr"/>
            <a:endParaRPr lang="ru-RU" sz="1000" dirty="0"/>
          </a:p>
          <a:p>
            <a:pPr marL="171450" algn="ctr"/>
            <a:endParaRPr lang="ru-RU" b="1" dirty="0"/>
          </a:p>
          <a:p>
            <a:pPr marL="171450" algn="ctr"/>
            <a:r>
              <a:rPr lang="ru-RU" b="1" dirty="0"/>
              <a:t>Как получить?</a:t>
            </a:r>
          </a:p>
          <a:p>
            <a:pPr marL="171450" algn="ctr"/>
            <a:r>
              <a:rPr lang="ru-RU" sz="1000" dirty="0"/>
              <a:t>Обратиться в отдел соцзащиты по месту жительства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3427859" y="2429218"/>
            <a:ext cx="2948112" cy="1862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algn="ctr"/>
            <a:r>
              <a:rPr lang="ru-RU" b="1" dirty="0"/>
              <a:t>Кто может </a:t>
            </a:r>
            <a:r>
              <a:rPr lang="ru-RU" b="1" dirty="0" smtClean="0"/>
              <a:t>получить?</a:t>
            </a:r>
          </a:p>
          <a:p>
            <a:pPr marL="171450" algn="ctr"/>
            <a:r>
              <a:rPr lang="ru-RU" sz="1000" dirty="0"/>
              <a:t>Многодетные семьи, где трое </a:t>
            </a:r>
            <a:endParaRPr lang="ru-RU" sz="1000" dirty="0" smtClean="0"/>
          </a:p>
          <a:p>
            <a:pPr marL="171450" algn="ctr"/>
            <a:r>
              <a:rPr lang="ru-RU" sz="1000" dirty="0" smtClean="0"/>
              <a:t>и </a:t>
            </a:r>
            <a:r>
              <a:rPr lang="ru-RU" sz="1000" dirty="0"/>
              <a:t>более детей</a:t>
            </a:r>
          </a:p>
          <a:p>
            <a:pPr marL="171450" algn="ctr"/>
            <a:endParaRPr lang="ru-RU" altLang="ru-RU" b="1" dirty="0"/>
          </a:p>
          <a:p>
            <a:pPr marL="171450" algn="ctr"/>
            <a:r>
              <a:rPr lang="ru-RU" altLang="ru-RU" b="1" dirty="0"/>
              <a:t>Условия </a:t>
            </a:r>
            <a:r>
              <a:rPr lang="ru-RU" altLang="ru-RU" b="1" dirty="0" smtClean="0"/>
              <a:t>получения?</a:t>
            </a:r>
          </a:p>
          <a:p>
            <a:pPr marL="171450" algn="ctr"/>
            <a:r>
              <a:rPr lang="ru-RU" sz="1000" dirty="0"/>
              <a:t>Среднедушевой доход семьи ниже </a:t>
            </a:r>
            <a:endParaRPr lang="ru-RU" sz="1000" dirty="0" smtClean="0"/>
          </a:p>
          <a:p>
            <a:pPr marL="171450" algn="ctr"/>
            <a:r>
              <a:rPr lang="ru-RU" sz="1000" dirty="0" smtClean="0"/>
              <a:t> </a:t>
            </a:r>
            <a:r>
              <a:rPr lang="ru-RU" sz="1000" dirty="0"/>
              <a:t>16 819 руб.</a:t>
            </a:r>
          </a:p>
          <a:p>
            <a:pPr marL="171450" algn="ctr"/>
            <a:endParaRPr lang="ru-RU" b="1" dirty="0"/>
          </a:p>
          <a:p>
            <a:pPr marL="171450" algn="ctr"/>
            <a:r>
              <a:rPr lang="ru-RU" b="1" dirty="0"/>
              <a:t>Как получить?</a:t>
            </a:r>
          </a:p>
          <a:p>
            <a:pPr marL="171450" algn="ctr"/>
            <a:r>
              <a:rPr lang="ru-RU" sz="1000" dirty="0"/>
              <a:t>Обратиться в отдел соцзащиты по месту жительства</a:t>
            </a: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3163" y="1719940"/>
            <a:ext cx="304276" cy="408175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65574" y="1771123"/>
            <a:ext cx="304276" cy="408175"/>
          </a:xfrm>
          <a:prstGeom prst="rect">
            <a:avLst/>
          </a:prstGeom>
        </p:spPr>
      </p:pic>
      <p:pic>
        <p:nvPicPr>
          <p:cNvPr id="49" name="Рисунок 4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05782" y="119928"/>
            <a:ext cx="537910" cy="295136"/>
          </a:xfrm>
          <a:prstGeom prst="rect">
            <a:avLst/>
          </a:prstGeom>
        </p:spPr>
      </p:pic>
      <p:pic>
        <p:nvPicPr>
          <p:cNvPr id="50" name="Рисунок 4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0615" y="2238745"/>
            <a:ext cx="377369" cy="345921"/>
          </a:xfrm>
          <a:prstGeom prst="rect">
            <a:avLst/>
          </a:prstGeom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30604" y="2297561"/>
            <a:ext cx="371960" cy="340963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42929" y="2304470"/>
            <a:ext cx="371888" cy="341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386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Рисунок 2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17802" y="1701281"/>
            <a:ext cx="2607900" cy="1593879"/>
          </a:xfrm>
          <a:prstGeom prst="rect">
            <a:avLst/>
          </a:prstGeom>
        </p:spPr>
      </p:pic>
      <p:sp>
        <p:nvSpPr>
          <p:cNvPr id="20" name="Скругленный прямоугольник 19"/>
          <p:cNvSpPr/>
          <p:nvPr/>
        </p:nvSpPr>
        <p:spPr>
          <a:xfrm>
            <a:off x="374469" y="3470091"/>
            <a:ext cx="8575949" cy="3461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2"/>
              </a:solidFill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925702" y="630134"/>
            <a:ext cx="3024716" cy="43998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2"/>
              </a:solidFill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96647" y="634448"/>
            <a:ext cx="3114518" cy="42231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2"/>
              </a:solidFill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46664" y="519707"/>
            <a:ext cx="9087898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668626" y="659854"/>
            <a:ext cx="2207656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 smtClean="0"/>
              <a:t>ЖИЛЬЁ </a:t>
            </a:r>
            <a:endParaRPr lang="ru-RU" b="1" dirty="0" smtClean="0"/>
          </a:p>
          <a:p>
            <a:pPr algn="ctr"/>
            <a:r>
              <a:rPr lang="ru-RU" b="1" dirty="0" smtClean="0"/>
              <a:t>ДЛЯ </a:t>
            </a:r>
            <a:r>
              <a:rPr lang="ru-RU" b="1" dirty="0" smtClean="0"/>
              <a:t>МНОГОДЕТНЫХ СЕМЕЙ</a:t>
            </a:r>
          </a:p>
          <a:p>
            <a:endParaRPr lang="ru-RU" b="1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5957513" y="647514"/>
            <a:ext cx="273846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/>
              <a:t>             ЗЕМЕЛЬНЫЙ </a:t>
            </a:r>
            <a:r>
              <a:rPr lang="ru-RU" b="1" dirty="0" smtClean="0"/>
              <a:t>УЧАСТОК </a:t>
            </a:r>
          </a:p>
          <a:p>
            <a:pPr algn="ctr"/>
            <a:r>
              <a:rPr lang="ru-RU" b="1" dirty="0" smtClean="0"/>
              <a:t>ДЛЯ </a:t>
            </a:r>
            <a:r>
              <a:rPr lang="ru-RU" b="1" dirty="0" smtClean="0"/>
              <a:t>МНОГОДЕТНЫХ СЕМЕЙ</a:t>
            </a:r>
            <a:endParaRPr lang="ru-RU" b="1" dirty="0">
              <a:effectLst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582829" y="2551403"/>
            <a:ext cx="359321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/>
              <a:t>Размер участка</a:t>
            </a:r>
          </a:p>
          <a:p>
            <a:pPr marL="171450" algn="ctr"/>
            <a:r>
              <a:rPr lang="ru-RU" sz="1000" dirty="0" smtClean="0"/>
              <a:t>Предоставляется 100-200 соток бесплатно </a:t>
            </a:r>
            <a:r>
              <a:rPr lang="ru-RU" sz="1000" dirty="0"/>
              <a:t>и однократно, оформляется в общую долевую собственность всех членов </a:t>
            </a:r>
            <a:r>
              <a:rPr lang="ru-RU" sz="1000" dirty="0" smtClean="0"/>
              <a:t>семьи</a:t>
            </a:r>
            <a:endParaRPr lang="ru-RU" dirty="0">
              <a:effectLst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692426" y="1556720"/>
            <a:ext cx="3442136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algn="ctr"/>
            <a:r>
              <a:rPr lang="ru-RU" sz="1200" b="1" dirty="0"/>
              <a:t>Кто может получить?</a:t>
            </a:r>
          </a:p>
          <a:p>
            <a:pPr marL="171450" algn="ctr"/>
            <a:r>
              <a:rPr lang="ru-RU" sz="1000" dirty="0" smtClean="0"/>
              <a:t>Семьи, где 3-е </a:t>
            </a:r>
            <a:r>
              <a:rPr lang="ru-RU" sz="1000" dirty="0"/>
              <a:t>и более детей в возрасте до 18 лет</a:t>
            </a:r>
            <a:br>
              <a:rPr lang="ru-RU" sz="1000" dirty="0"/>
            </a:br>
            <a:endParaRPr lang="ru-RU" sz="1000" dirty="0"/>
          </a:p>
          <a:p>
            <a:pPr algn="ctr"/>
            <a:r>
              <a:rPr lang="ru-RU" sz="1200" b="1" dirty="0"/>
              <a:t> Как получить?</a:t>
            </a:r>
            <a:endParaRPr lang="ru-RU" sz="1200" dirty="0"/>
          </a:p>
          <a:p>
            <a:pPr marL="171450" algn="ctr"/>
            <a:r>
              <a:rPr lang="ru-RU" sz="1000" dirty="0"/>
              <a:t>Обратиться в администрацию по месту жительства или в МФЦ</a:t>
            </a:r>
            <a:br>
              <a:rPr lang="ru-RU" sz="1000" dirty="0"/>
            </a:br>
            <a:endParaRPr lang="ru-RU" sz="10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-84828" y="1555543"/>
            <a:ext cx="3741906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algn="ctr"/>
            <a:r>
              <a:rPr lang="ru-RU" sz="1200" b="1" dirty="0"/>
              <a:t>Кто может получить?</a:t>
            </a:r>
          </a:p>
          <a:p>
            <a:pPr algn="ctr"/>
            <a:r>
              <a:rPr lang="ru-RU" sz="1000" dirty="0"/>
              <a:t>Семьи имеющие 8 и более несовершеннолетних детей</a:t>
            </a:r>
          </a:p>
          <a:p>
            <a:pPr algn="ctr"/>
            <a:r>
              <a:rPr lang="ru-RU" sz="1000" dirty="0"/>
              <a:t> (если обучается - то до 23 лет) и состоящие на учете в органах местного самоуправления в качестве нуждающихся в улучшении жилищных условий</a:t>
            </a:r>
          </a:p>
          <a:p>
            <a:pPr marL="171450" algn="ctr"/>
            <a:r>
              <a:rPr lang="ru-RU" dirty="0" smtClean="0"/>
              <a:t> </a:t>
            </a:r>
            <a:endParaRPr lang="ru-RU" sz="1050" dirty="0"/>
          </a:p>
          <a:p>
            <a:pPr algn="ctr"/>
            <a:r>
              <a:rPr lang="ru-RU" sz="1200" b="1" dirty="0"/>
              <a:t> Как получить?</a:t>
            </a:r>
            <a:endParaRPr lang="ru-RU" sz="1200" dirty="0"/>
          </a:p>
          <a:p>
            <a:pPr algn="ctr"/>
            <a:r>
              <a:rPr lang="ru-RU" sz="1000" dirty="0"/>
              <a:t>Обратиться в администрацию по месту жительства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066634" y="3504360"/>
            <a:ext cx="331934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/>
              <a:t>ДАЛЬНЕВОСТОЧНАЯ ИПОТЕКА ДО 2%</a:t>
            </a:r>
            <a:br>
              <a:rPr lang="ru-RU" b="1" dirty="0"/>
            </a:br>
            <a:endParaRPr lang="ru-RU" b="1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-272828" y="4117104"/>
            <a:ext cx="3626685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algn="ctr"/>
            <a:r>
              <a:rPr lang="ru-RU" b="1" dirty="0"/>
              <a:t>Кто может получить</a:t>
            </a:r>
            <a:r>
              <a:rPr lang="ru-RU" b="1" dirty="0" smtClean="0"/>
              <a:t>?</a:t>
            </a:r>
          </a:p>
          <a:p>
            <a:pPr marL="171450" algn="ctr"/>
            <a:r>
              <a:rPr lang="ru-RU" sz="1000" dirty="0"/>
              <a:t>Семьи, где оба супруга в возрасте до 35 лет</a:t>
            </a:r>
          </a:p>
          <a:p>
            <a:pPr marL="171450" algn="ctr"/>
            <a:r>
              <a:rPr lang="ru-RU" sz="1000" dirty="0"/>
              <a:t>Граждане до 35 лет с детьми до 18 лет</a:t>
            </a:r>
          </a:p>
          <a:p>
            <a:pPr marL="171450" algn="ctr"/>
            <a:endParaRPr lang="ru-RU" sz="1000" dirty="0"/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3"/>
          <a:srcRect l="34313" t="12060" b="23003"/>
          <a:stretch/>
        </p:blipFill>
        <p:spPr>
          <a:xfrm>
            <a:off x="3088217" y="4030330"/>
            <a:ext cx="3299744" cy="844022"/>
          </a:xfrm>
          <a:prstGeom prst="rect">
            <a:avLst/>
          </a:prstGeom>
        </p:spPr>
      </p:pic>
      <p:sp>
        <p:nvSpPr>
          <p:cNvPr id="21" name="Прямоугольник 20"/>
          <p:cNvSpPr/>
          <p:nvPr/>
        </p:nvSpPr>
        <p:spPr>
          <a:xfrm>
            <a:off x="6243739" y="4117733"/>
            <a:ext cx="2900261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/>
              <a:t>Как получить</a:t>
            </a:r>
            <a:r>
              <a:rPr lang="ru-RU" b="1" dirty="0" smtClean="0"/>
              <a:t>?</a:t>
            </a:r>
          </a:p>
          <a:p>
            <a:pPr marL="171450" algn="ctr"/>
            <a:r>
              <a:rPr lang="ru-RU" sz="1000" dirty="0"/>
              <a:t>Обратиться в банк, список всех банков на сайте ДОМ.РФ </a:t>
            </a: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48737" y="1202444"/>
            <a:ext cx="378645" cy="289790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10800" y="1196617"/>
            <a:ext cx="523309" cy="353334"/>
          </a:xfrm>
          <a:prstGeom prst="rect">
            <a:avLst/>
          </a:prstGeom>
        </p:spPr>
      </p:pic>
      <p:sp>
        <p:nvSpPr>
          <p:cNvPr id="26" name="Прямоугольник 25"/>
          <p:cNvSpPr/>
          <p:nvPr/>
        </p:nvSpPr>
        <p:spPr>
          <a:xfrm>
            <a:off x="1540514" y="95233"/>
            <a:ext cx="651261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 smtClean="0">
                <a:solidFill>
                  <a:srgbClr val="002060"/>
                </a:solidFill>
                <a:cs typeface="Arial" pitchFamily="34" charset="0"/>
              </a:rPr>
              <a:t>УЛУЧШЕНИЕ </a:t>
            </a:r>
            <a:r>
              <a:rPr lang="ru-RU" sz="1600" b="1" dirty="0">
                <a:solidFill>
                  <a:srgbClr val="002060"/>
                </a:solidFill>
                <a:cs typeface="Arial" pitchFamily="34" charset="0"/>
              </a:rPr>
              <a:t>ЖИЛИЩНЫХ УСЛОВИЙ </a:t>
            </a:r>
            <a:r>
              <a:rPr lang="ru-RU" sz="1600" b="1" dirty="0" smtClean="0">
                <a:solidFill>
                  <a:srgbClr val="92D050"/>
                </a:solidFill>
                <a:cs typeface="Arial" pitchFamily="34" charset="0"/>
              </a:rPr>
              <a:t>МНОГОДЕТНЫХ </a:t>
            </a:r>
            <a:r>
              <a:rPr lang="ru-RU" sz="1600" b="1" dirty="0" smtClean="0">
                <a:solidFill>
                  <a:srgbClr val="002060"/>
                </a:solidFill>
                <a:cs typeface="Arial" pitchFamily="34" charset="0"/>
              </a:rPr>
              <a:t>СЕМЕЙ </a:t>
            </a:r>
            <a:endParaRPr lang="ru-RU" sz="1600" b="1" dirty="0">
              <a:solidFill>
                <a:srgbClr val="002060"/>
              </a:solidFill>
              <a:cs typeface="Arial" pitchFamily="34" charset="0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251" y="61899"/>
            <a:ext cx="610891" cy="457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184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Рисунок 4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27094" y="4346990"/>
            <a:ext cx="495832" cy="412323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71649" y="2980294"/>
            <a:ext cx="452438" cy="376238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21210" y="1651887"/>
            <a:ext cx="385121" cy="320259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333" y="2078120"/>
            <a:ext cx="1116518" cy="1116518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9</a:t>
            </a:fld>
            <a:endParaRPr lang="en-GB" dirty="0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56102" y="416311"/>
            <a:ext cx="9087898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1395763" y="1009420"/>
            <a:ext cx="6329459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/>
              <a:t>ОТДЕЛЕНИЕ СОЦИАЛЬНОГО ФОНДА РОССИИ ПО ЗАБАЙКАЛЬСКОМУ КРАЮ</a:t>
            </a:r>
          </a:p>
          <a:p>
            <a:pPr algn="ctr"/>
            <a:endParaRPr lang="ru-RU" dirty="0" smtClean="0"/>
          </a:p>
          <a:p>
            <a:pPr algn="ctr"/>
            <a:r>
              <a:rPr lang="ru-RU" dirty="0" smtClean="0"/>
              <a:t>Чита, ул. Чкалова, 160б </a:t>
            </a:r>
          </a:p>
          <a:p>
            <a:pPr algn="ctr"/>
            <a:endParaRPr lang="ru-RU" dirty="0" smtClean="0"/>
          </a:p>
          <a:p>
            <a:pPr algn="ctr"/>
            <a:r>
              <a:rPr lang="ru-RU" dirty="0" smtClean="0"/>
              <a:t>8-800-2000-702</a:t>
            </a:r>
            <a:br>
              <a:rPr lang="ru-RU" dirty="0" smtClean="0"/>
            </a:br>
            <a:endParaRPr lang="ru-RU" dirty="0">
              <a:effectLst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354920" y="2361845"/>
            <a:ext cx="6569426" cy="9541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b="1" dirty="0"/>
              <a:t>МНОГОФУНКЦИОНАЛЬНЫЙ ЦЕНТР ЗАБАЙКАЛЬСКОГО </a:t>
            </a:r>
            <a:r>
              <a:rPr lang="ru-RU" sz="1200" b="1" dirty="0" smtClean="0"/>
              <a:t>КРАЯ «МОИ ДОКУМЕНТЫ»</a:t>
            </a:r>
            <a:endParaRPr lang="ru-RU" dirty="0" smtClean="0"/>
          </a:p>
          <a:p>
            <a:pPr algn="ctr"/>
            <a:endParaRPr lang="ru-RU" dirty="0" smtClean="0"/>
          </a:p>
          <a:p>
            <a:pPr algn="ctr"/>
            <a:r>
              <a:rPr lang="ru-RU" dirty="0" smtClean="0"/>
              <a:t>              Чита, ул. Генерала </a:t>
            </a:r>
            <a:r>
              <a:rPr lang="ru-RU" dirty="0" err="1" smtClean="0"/>
              <a:t>Белика</a:t>
            </a:r>
            <a:r>
              <a:rPr lang="ru-RU" dirty="0" smtClean="0"/>
              <a:t> </a:t>
            </a:r>
            <a:r>
              <a:rPr lang="ru-RU" smtClean="0"/>
              <a:t>12                    ул</a:t>
            </a:r>
            <a:r>
              <a:rPr lang="ru-RU" dirty="0" smtClean="0"/>
              <a:t>. </a:t>
            </a:r>
            <a:r>
              <a:rPr lang="ru-RU" dirty="0" err="1" smtClean="0"/>
              <a:t>Бутина</a:t>
            </a:r>
            <a:r>
              <a:rPr lang="ru-RU" dirty="0" smtClean="0"/>
              <a:t> 72                    ул. Ярославского </a:t>
            </a:r>
            <a:r>
              <a:rPr lang="ru-RU" dirty="0"/>
              <a:t>40 </a:t>
            </a:r>
            <a:endParaRPr lang="ru-RU" dirty="0" smtClean="0"/>
          </a:p>
          <a:p>
            <a:pPr algn="ctr"/>
            <a:endParaRPr lang="ru-RU" dirty="0" smtClean="0"/>
          </a:p>
          <a:p>
            <a:pPr algn="ctr"/>
            <a:r>
              <a:rPr lang="ru-RU" dirty="0" smtClean="0"/>
              <a:t>8 </a:t>
            </a:r>
            <a:r>
              <a:rPr lang="ru-RU" dirty="0"/>
              <a:t>(3022) </a:t>
            </a:r>
            <a:r>
              <a:rPr lang="ru-RU" dirty="0" smtClean="0"/>
              <a:t>21-10-10</a:t>
            </a:r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1526650" y="3780802"/>
            <a:ext cx="6583680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/>
              <a:t>КРАЕВОЙ ЦЕНТР СОЦИАЛЬНОЙ ЗАЩИТЫ НАСЕЛЕНИЯ ЗАБАЙКАЛЬСКОГО КРАЯ</a:t>
            </a:r>
          </a:p>
          <a:p>
            <a:pPr algn="ctr"/>
            <a:endParaRPr lang="ru-RU" dirty="0" smtClean="0"/>
          </a:p>
          <a:p>
            <a:pPr algn="ctr"/>
            <a:r>
              <a:rPr lang="ru-RU" dirty="0" smtClean="0"/>
              <a:t>г. Чита</a:t>
            </a:r>
            <a:r>
              <a:rPr lang="ru-RU" dirty="0"/>
              <a:t>, ул. </a:t>
            </a:r>
            <a:r>
              <a:rPr lang="ru-RU" dirty="0" smtClean="0"/>
              <a:t>Богомягкова 23                      Недорезова 30</a:t>
            </a:r>
          </a:p>
          <a:p>
            <a:pPr algn="ctr"/>
            <a:endParaRPr lang="ru-RU" dirty="0" smtClean="0"/>
          </a:p>
          <a:p>
            <a:pPr algn="ctr"/>
            <a:r>
              <a:rPr lang="ru-RU" dirty="0" smtClean="0"/>
              <a:t>8-800-1000-001</a:t>
            </a:r>
          </a:p>
          <a:p>
            <a:pPr algn="ctr"/>
            <a:endParaRPr lang="ru-RU" dirty="0"/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86" t="20223" r="16419" b="20179"/>
          <a:stretch/>
        </p:blipFill>
        <p:spPr>
          <a:xfrm>
            <a:off x="846505" y="872498"/>
            <a:ext cx="680145" cy="605948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13523" y="1377299"/>
            <a:ext cx="207687" cy="202293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68539" y="2692858"/>
            <a:ext cx="287200" cy="279740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24843" y="2676956"/>
            <a:ext cx="287200" cy="279740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70683" y="2670535"/>
            <a:ext cx="287200" cy="279740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27193" y="4090302"/>
            <a:ext cx="287200" cy="279740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14837" y="4091741"/>
            <a:ext cx="287200" cy="27974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0965" y="3659488"/>
            <a:ext cx="1191253" cy="893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8500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MovO_iBjXitovcWEC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LyoVupDyKbrJ6US0lVa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2ITjAgcNyP1.3FSaQsd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4N76eZv3D_KvyN1qEiG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N1Oa4t4rq5FN95370p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mQ1kFeCZ77ZmfCUQs96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6yd_c2vccZYDLgWCTQ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y.9_YS0.5b2QOnf1I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_QZ1dWV4k2UM.AttwC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ANX9jQgSZE19bNLniO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952</TotalTime>
  <Words>961</Words>
  <Application>Microsoft Office PowerPoint</Application>
  <PresentationFormat>Экран (16:9)</PresentationFormat>
  <Paragraphs>197</Paragraphs>
  <Slides>9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7" baseType="lpstr">
      <vt:lpstr>Arial</vt:lpstr>
      <vt:lpstr>Calibri</vt:lpstr>
      <vt:lpstr>Courier New</vt:lpstr>
      <vt:lpstr>Helvetica</vt:lpstr>
      <vt:lpstr>Montserrat</vt:lpstr>
      <vt:lpstr>Wingdings</vt:lpstr>
      <vt:lpstr>Office Them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ДИНАМИКА COVID-19 В ЗАБАЙКАЛЬЕ</dc:title>
  <dc:creator>fin6</dc:creator>
  <cp:lastModifiedBy>Ванчикова А.Г.</cp:lastModifiedBy>
  <cp:revision>1332</cp:revision>
  <cp:lastPrinted>2023-06-30T05:37:47Z</cp:lastPrinted>
  <dcterms:modified xsi:type="dcterms:W3CDTF">2023-07-05T00:10:00Z</dcterms:modified>
</cp:coreProperties>
</file>